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47" r:id="rId4"/>
  </p:sldMasterIdLst>
  <p:notesMasterIdLst>
    <p:notesMasterId r:id="rId31"/>
  </p:notesMasterIdLst>
  <p:sldIdLst>
    <p:sldId id="256" r:id="rId5"/>
    <p:sldId id="257" r:id="rId6"/>
    <p:sldId id="275" r:id="rId7"/>
    <p:sldId id="285" r:id="rId8"/>
    <p:sldId id="286" r:id="rId9"/>
    <p:sldId id="258" r:id="rId10"/>
    <p:sldId id="259" r:id="rId11"/>
    <p:sldId id="277" r:id="rId12"/>
    <p:sldId id="278" r:id="rId13"/>
    <p:sldId id="279" r:id="rId14"/>
    <p:sldId id="265" r:id="rId15"/>
    <p:sldId id="264" r:id="rId16"/>
    <p:sldId id="266" r:id="rId17"/>
    <p:sldId id="261" r:id="rId18"/>
    <p:sldId id="262" r:id="rId19"/>
    <p:sldId id="260" r:id="rId20"/>
    <p:sldId id="283" r:id="rId21"/>
    <p:sldId id="284" r:id="rId22"/>
    <p:sldId id="269" r:id="rId23"/>
    <p:sldId id="263" r:id="rId24"/>
    <p:sldId id="273" r:id="rId25"/>
    <p:sldId id="274" r:id="rId26"/>
    <p:sldId id="281" r:id="rId27"/>
    <p:sldId id="271" r:id="rId28"/>
    <p:sldId id="270" r:id="rId29"/>
    <p:sldId id="287" r:id="rId30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A4571F9-2B97-E648-8237-9D3F4F72CA25}" v="17" dt="2022-03-02T20:14:54.28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18"/>
    <p:restoredTop sz="95878"/>
  </p:normalViewPr>
  <p:slideViewPr>
    <p:cSldViewPr snapToGrid="0">
      <p:cViewPr varScale="1">
        <p:scale>
          <a:sx n="52" d="100"/>
          <a:sy n="52" d="100"/>
        </p:scale>
        <p:origin x="71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37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tableStyles" Target="tableStyle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ennani, Wissem" userId="a2438fa2-58b5-4c07-8fb3-84f893c1815c" providerId="ADAL" clId="{4A4571F9-2B97-E648-8237-9D3F4F72CA25}"/>
    <pc:docChg chg="custSel addSld delSld modSld">
      <pc:chgData name="Bennani, Wissem" userId="a2438fa2-58b5-4c07-8fb3-84f893c1815c" providerId="ADAL" clId="{4A4571F9-2B97-E648-8237-9D3F4F72CA25}" dt="2022-03-02T20:15:21.355" v="134" actId="2696"/>
      <pc:docMkLst>
        <pc:docMk/>
      </pc:docMkLst>
      <pc:sldChg chg="modSp mod">
        <pc:chgData name="Bennani, Wissem" userId="a2438fa2-58b5-4c07-8fb3-84f893c1815c" providerId="ADAL" clId="{4A4571F9-2B97-E648-8237-9D3F4F72CA25}" dt="2022-03-02T20:00:09.610" v="0" actId="207"/>
        <pc:sldMkLst>
          <pc:docMk/>
          <pc:sldMk cId="4294558280" sldId="256"/>
        </pc:sldMkLst>
        <pc:spChg chg="mod">
          <ac:chgData name="Bennani, Wissem" userId="a2438fa2-58b5-4c07-8fb3-84f893c1815c" providerId="ADAL" clId="{4A4571F9-2B97-E648-8237-9D3F4F72CA25}" dt="2022-03-02T20:00:09.610" v="0" actId="207"/>
          <ac:spMkLst>
            <pc:docMk/>
            <pc:sldMk cId="4294558280" sldId="256"/>
            <ac:spMk id="2" creationId="{7E1CA6A3-71EC-1941-ADCC-228AEBA97DD8}"/>
          </ac:spMkLst>
        </pc:spChg>
      </pc:sldChg>
      <pc:sldChg chg="modSp mod">
        <pc:chgData name="Bennani, Wissem" userId="a2438fa2-58b5-4c07-8fb3-84f893c1815c" providerId="ADAL" clId="{4A4571F9-2B97-E648-8237-9D3F4F72CA25}" dt="2022-03-02T20:15:17.850" v="133" actId="20577"/>
        <pc:sldMkLst>
          <pc:docMk/>
          <pc:sldMk cId="3831002698" sldId="258"/>
        </pc:sldMkLst>
        <pc:graphicFrameChg chg="modGraphic">
          <ac:chgData name="Bennani, Wissem" userId="a2438fa2-58b5-4c07-8fb3-84f893c1815c" providerId="ADAL" clId="{4A4571F9-2B97-E648-8237-9D3F4F72CA25}" dt="2022-03-02T20:15:17.850" v="133" actId="20577"/>
          <ac:graphicFrameMkLst>
            <pc:docMk/>
            <pc:sldMk cId="3831002698" sldId="258"/>
            <ac:graphicFrameMk id="4" creationId="{00000000-0000-0000-0000-000000000000}"/>
          </ac:graphicFrameMkLst>
        </pc:graphicFrameChg>
      </pc:sldChg>
      <pc:sldChg chg="addSp delSp modSp mod">
        <pc:chgData name="Bennani, Wissem" userId="a2438fa2-58b5-4c07-8fb3-84f893c1815c" providerId="ADAL" clId="{4A4571F9-2B97-E648-8237-9D3F4F72CA25}" dt="2022-03-02T20:10:08.024" v="89" actId="1076"/>
        <pc:sldMkLst>
          <pc:docMk/>
          <pc:sldMk cId="115875118" sldId="261"/>
        </pc:sldMkLst>
        <pc:spChg chg="mod">
          <ac:chgData name="Bennani, Wissem" userId="a2438fa2-58b5-4c07-8fb3-84f893c1815c" providerId="ADAL" clId="{4A4571F9-2B97-E648-8237-9D3F4F72CA25}" dt="2022-03-02T20:09:43.084" v="86" actId="20577"/>
          <ac:spMkLst>
            <pc:docMk/>
            <pc:sldMk cId="115875118" sldId="261"/>
            <ac:spMk id="3" creationId="{1B9A6331-110C-45AD-B17D-3ABE0F79884F}"/>
          </ac:spMkLst>
        </pc:spChg>
        <pc:spChg chg="add del mod">
          <ac:chgData name="Bennani, Wissem" userId="a2438fa2-58b5-4c07-8fb3-84f893c1815c" providerId="ADAL" clId="{4A4571F9-2B97-E648-8237-9D3F4F72CA25}" dt="2022-03-02T20:10:04.584" v="88" actId="478"/>
          <ac:spMkLst>
            <pc:docMk/>
            <pc:sldMk cId="115875118" sldId="261"/>
            <ac:spMk id="6" creationId="{97760B01-2F3E-8748-B74E-42CB4D9F7FB3}"/>
          </ac:spMkLst>
        </pc:spChg>
        <pc:picChg chg="mod">
          <ac:chgData name="Bennani, Wissem" userId="a2438fa2-58b5-4c07-8fb3-84f893c1815c" providerId="ADAL" clId="{4A4571F9-2B97-E648-8237-9D3F4F72CA25}" dt="2022-03-02T20:10:08.024" v="89" actId="1076"/>
          <ac:picMkLst>
            <pc:docMk/>
            <pc:sldMk cId="115875118" sldId="261"/>
            <ac:picMk id="4" creationId="{3C2E0C5A-D222-45A1-BB95-132191B461E9}"/>
          </ac:picMkLst>
        </pc:picChg>
      </pc:sldChg>
      <pc:sldChg chg="modSp mod">
        <pc:chgData name="Bennani, Wissem" userId="a2438fa2-58b5-4c07-8fb3-84f893c1815c" providerId="ADAL" clId="{4A4571F9-2B97-E648-8237-9D3F4F72CA25}" dt="2022-03-02T20:08:22.969" v="32" actId="14100"/>
        <pc:sldMkLst>
          <pc:docMk/>
          <pc:sldMk cId="1931691494" sldId="263"/>
        </pc:sldMkLst>
        <pc:graphicFrameChg chg="modGraphic">
          <ac:chgData name="Bennani, Wissem" userId="a2438fa2-58b5-4c07-8fb3-84f893c1815c" providerId="ADAL" clId="{4A4571F9-2B97-E648-8237-9D3F4F72CA25}" dt="2022-03-02T20:08:22.969" v="32" actId="14100"/>
          <ac:graphicFrameMkLst>
            <pc:docMk/>
            <pc:sldMk cId="1931691494" sldId="263"/>
            <ac:graphicFrameMk id="5" creationId="{BB45F073-EB5C-F446-8F8F-336E1F2921A6}"/>
          </ac:graphicFrameMkLst>
        </pc:graphicFrameChg>
      </pc:sldChg>
      <pc:sldChg chg="modSp mod">
        <pc:chgData name="Bennani, Wissem" userId="a2438fa2-58b5-4c07-8fb3-84f893c1815c" providerId="ADAL" clId="{4A4571F9-2B97-E648-8237-9D3F4F72CA25}" dt="2022-03-02T20:08:14.938" v="31" actId="5793"/>
        <pc:sldMkLst>
          <pc:docMk/>
          <pc:sldMk cId="4090198620" sldId="283"/>
        </pc:sldMkLst>
        <pc:spChg chg="mod">
          <ac:chgData name="Bennani, Wissem" userId="a2438fa2-58b5-4c07-8fb3-84f893c1815c" providerId="ADAL" clId="{4A4571F9-2B97-E648-8237-9D3F4F72CA25}" dt="2022-03-02T20:08:14.938" v="31" actId="5793"/>
          <ac:spMkLst>
            <pc:docMk/>
            <pc:sldMk cId="4090198620" sldId="283"/>
            <ac:spMk id="3" creationId="{29FBAB3D-281E-B44E-A138-9EA1E980871F}"/>
          </ac:spMkLst>
        </pc:spChg>
      </pc:sldChg>
      <pc:sldChg chg="modSp mod">
        <pc:chgData name="Bennani, Wissem" userId="a2438fa2-58b5-4c07-8fb3-84f893c1815c" providerId="ADAL" clId="{4A4571F9-2B97-E648-8237-9D3F4F72CA25}" dt="2022-03-02T20:07:53.040" v="27" actId="20577"/>
        <pc:sldMkLst>
          <pc:docMk/>
          <pc:sldMk cId="374471592" sldId="284"/>
        </pc:sldMkLst>
        <pc:spChg chg="mod">
          <ac:chgData name="Bennani, Wissem" userId="a2438fa2-58b5-4c07-8fb3-84f893c1815c" providerId="ADAL" clId="{4A4571F9-2B97-E648-8237-9D3F4F72CA25}" dt="2022-03-02T20:07:53.040" v="27" actId="20577"/>
          <ac:spMkLst>
            <pc:docMk/>
            <pc:sldMk cId="374471592" sldId="284"/>
            <ac:spMk id="3" creationId="{37FCE2CA-3BF4-3049-9869-BF46CE6E8A6C}"/>
          </ac:spMkLst>
        </pc:spChg>
      </pc:sldChg>
      <pc:sldChg chg="addSp modSp new del">
        <pc:chgData name="Bennani, Wissem" userId="a2438fa2-58b5-4c07-8fb3-84f893c1815c" providerId="ADAL" clId="{4A4571F9-2B97-E648-8237-9D3F4F72CA25}" dt="2022-03-02T20:15:21.355" v="134" actId="2696"/>
        <pc:sldMkLst>
          <pc:docMk/>
          <pc:sldMk cId="1060985832" sldId="285"/>
        </pc:sldMkLst>
        <pc:spChg chg="add mod">
          <ac:chgData name="Bennani, Wissem" userId="a2438fa2-58b5-4c07-8fb3-84f893c1815c" providerId="ADAL" clId="{4A4571F9-2B97-E648-8237-9D3F4F72CA25}" dt="2022-03-02T20:13:39.370" v="100" actId="14100"/>
          <ac:spMkLst>
            <pc:docMk/>
            <pc:sldMk cId="1060985832" sldId="285"/>
            <ac:spMk id="2" creationId="{F8B623AB-1A1C-E84E-9A0A-D31722BB8862}"/>
          </ac:spMkLst>
        </pc:spChg>
        <pc:picChg chg="add mod">
          <ac:chgData name="Bennani, Wissem" userId="a2438fa2-58b5-4c07-8fb3-84f893c1815c" providerId="ADAL" clId="{4A4571F9-2B97-E648-8237-9D3F4F72CA25}" dt="2022-03-02T20:14:54.288" v="106" actId="1076"/>
          <ac:picMkLst>
            <pc:docMk/>
            <pc:sldMk cId="1060985832" sldId="285"/>
            <ac:picMk id="1025" creationId="{16069775-68FA-3142-B159-193DFF435823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https://smccd-my.sharepoint.com/personal/engelk_smccd_edu/Documents/Enrollment%20Management/National%20Student%20Clearinghouse/Fall%202019%20to%20Fall%202021%20NSC%20data%20trends%20US%20CA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2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800" dirty="0"/>
              <a:t>% change of 2-year public colleges:  headcount</a:t>
            </a:r>
          </a:p>
          <a:p>
            <a:pPr>
              <a:defRPr sz="2800"/>
            </a:pPr>
            <a:r>
              <a:rPr lang="en-US" sz="2800" dirty="0"/>
              <a:t>from Fall 2019 to Fall 2021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E$12</c:f>
              <c:strCache>
                <c:ptCount val="1"/>
                <c:pt idx="0">
                  <c:v>% change from Fall 2019 to Fall 202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EA9-440C-BBB3-AC5C3D150BE2}"/>
              </c:ext>
            </c:extLst>
          </c:dPt>
          <c:dPt>
            <c:idx val="1"/>
            <c:invertIfNegative val="0"/>
            <c:bubble3D val="0"/>
            <c:spPr>
              <a:solidFill>
                <a:srgbClr val="E76618">
                  <a:lumMod val="60000"/>
                  <a:lumOff val="4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5B75-4E38-9F0D-03323244E167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EA9-440C-BBB3-AC5C3D150BE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D$13:$D$15</c:f>
              <c:strCache>
                <c:ptCount val="3"/>
                <c:pt idx="0">
                  <c:v>U.S.</c:v>
                </c:pt>
                <c:pt idx="1">
                  <c:v>California</c:v>
                </c:pt>
                <c:pt idx="2">
                  <c:v>Cañada College</c:v>
                </c:pt>
              </c:strCache>
            </c:strRef>
          </c:cat>
          <c:val>
            <c:numRef>
              <c:f>Sheet1!$E$13:$E$15</c:f>
              <c:numCache>
                <c:formatCode>0%</c:formatCode>
                <c:ptCount val="3"/>
                <c:pt idx="0">
                  <c:v>-0.13</c:v>
                </c:pt>
                <c:pt idx="1">
                  <c:v>-0.1</c:v>
                </c:pt>
                <c:pt idx="2">
                  <c:v>-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EA9-440C-BBB3-AC5C3D150BE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86010671"/>
        <c:axId val="1786011087"/>
      </c:barChart>
      <c:catAx>
        <c:axId val="17860106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high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86011087"/>
        <c:crosses val="autoZero"/>
        <c:auto val="1"/>
        <c:lblAlgn val="ctr"/>
        <c:lblOffset val="100"/>
        <c:noMultiLvlLbl val="0"/>
      </c:catAx>
      <c:valAx>
        <c:axId val="1786011087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8601067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B6F7BC6-54CE-420F-9F6A-449888364985}" type="doc">
      <dgm:prSet loTypeId="urn:microsoft.com/office/officeart/2005/8/layout/vList2" loCatId="list" qsTypeId="urn:microsoft.com/office/officeart/2005/8/quickstyle/simple4" qsCatId="simple" csTypeId="urn:microsoft.com/office/officeart/2005/8/colors/colorful2" csCatId="colorful"/>
      <dgm:spPr/>
      <dgm:t>
        <a:bodyPr/>
        <a:lstStyle/>
        <a:p>
          <a:endParaRPr lang="en-US"/>
        </a:p>
      </dgm:t>
    </dgm:pt>
    <dgm:pt modelId="{C0C24BE3-642E-4CB0-B94B-E13D49D5D787}">
      <dgm:prSet phldr="0"/>
      <dgm:spPr/>
      <dgm:t>
        <a:bodyPr/>
        <a:lstStyle/>
        <a:p>
          <a:pPr rtl="0"/>
          <a:r>
            <a:rPr lang="en-US">
              <a:latin typeface="Trebuchet MS" panose="020B0603020202020204"/>
            </a:rPr>
            <a:t>Helps FAO identify fraud!</a:t>
          </a:r>
          <a:endParaRPr lang="en-US"/>
        </a:p>
      </dgm:t>
    </dgm:pt>
    <dgm:pt modelId="{50F6989F-6BF8-4015-B0F8-35FAB38D2F9A}" type="parTrans" cxnId="{5168F4F6-FC7D-4D19-89B1-95C4E03249A3}">
      <dgm:prSet/>
      <dgm:spPr/>
      <dgm:t>
        <a:bodyPr/>
        <a:lstStyle/>
        <a:p>
          <a:endParaRPr lang="en-US"/>
        </a:p>
      </dgm:t>
    </dgm:pt>
    <dgm:pt modelId="{F4F1B2DC-7E9E-43FA-992E-94CE8EFBD14E}" type="sibTrans" cxnId="{5168F4F6-FC7D-4D19-89B1-95C4E03249A3}">
      <dgm:prSet/>
      <dgm:spPr/>
      <dgm:t>
        <a:bodyPr/>
        <a:lstStyle/>
        <a:p>
          <a:endParaRPr lang="en-US"/>
        </a:p>
      </dgm:t>
    </dgm:pt>
    <dgm:pt modelId="{D9ADAC9B-B310-4B90-B787-C28CD4116E03}">
      <dgm:prSet/>
      <dgm:spPr/>
      <dgm:t>
        <a:bodyPr/>
        <a:lstStyle/>
        <a:p>
          <a:pPr rtl="0"/>
          <a:r>
            <a:rPr lang="en-US">
              <a:latin typeface="Trebuchet MS" panose="020B0603020202020204"/>
            </a:rPr>
            <a:t>Minimizes the amount of funds a student may have to repay!</a:t>
          </a:r>
          <a:endParaRPr lang="en-US"/>
        </a:p>
      </dgm:t>
    </dgm:pt>
    <dgm:pt modelId="{0BD9808C-8A2A-43EB-A77C-FB65B1F42182}" type="parTrans" cxnId="{32FF6B53-138D-431C-B951-D1E142559FC1}">
      <dgm:prSet/>
      <dgm:spPr/>
      <dgm:t>
        <a:bodyPr/>
        <a:lstStyle/>
        <a:p>
          <a:endParaRPr lang="en-US"/>
        </a:p>
      </dgm:t>
    </dgm:pt>
    <dgm:pt modelId="{37778E40-C97F-4E00-9703-97A61E36304A}" type="sibTrans" cxnId="{32FF6B53-138D-431C-B951-D1E142559FC1}">
      <dgm:prSet/>
      <dgm:spPr/>
      <dgm:t>
        <a:bodyPr/>
        <a:lstStyle/>
        <a:p>
          <a:endParaRPr lang="en-US"/>
        </a:p>
      </dgm:t>
    </dgm:pt>
    <dgm:pt modelId="{95CA64DD-4C13-4A8B-B835-B7A1D9502030}">
      <dgm:prSet/>
      <dgm:spPr/>
      <dgm:t>
        <a:bodyPr/>
        <a:lstStyle/>
        <a:p>
          <a:pPr rtl="0"/>
          <a:r>
            <a:rPr lang="en-US">
              <a:latin typeface="Trebuchet MS" panose="020B0603020202020204"/>
            </a:rPr>
            <a:t>Minimizes the amount of institutional liabilities!</a:t>
          </a:r>
          <a:endParaRPr lang="en-US"/>
        </a:p>
      </dgm:t>
    </dgm:pt>
    <dgm:pt modelId="{9AF80C02-ABC1-40DF-A7E9-01FF624CB10A}" type="parTrans" cxnId="{2D061114-BF78-43DC-9FB2-3C6357775962}">
      <dgm:prSet/>
      <dgm:spPr/>
      <dgm:t>
        <a:bodyPr/>
        <a:lstStyle/>
        <a:p>
          <a:endParaRPr lang="en-US"/>
        </a:p>
      </dgm:t>
    </dgm:pt>
    <dgm:pt modelId="{F6A7A75A-7780-46FD-9238-7580AF64F77A}" type="sibTrans" cxnId="{2D061114-BF78-43DC-9FB2-3C6357775962}">
      <dgm:prSet/>
      <dgm:spPr/>
      <dgm:t>
        <a:bodyPr/>
        <a:lstStyle/>
        <a:p>
          <a:endParaRPr lang="en-US"/>
        </a:p>
      </dgm:t>
    </dgm:pt>
    <dgm:pt modelId="{95DDA951-BE80-4380-A047-C7BF04EAA8FD}" type="pres">
      <dgm:prSet presAssocID="{6B6F7BC6-54CE-420F-9F6A-449888364985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B03F6D8-2B58-4BB1-92F6-80748D595798}" type="pres">
      <dgm:prSet presAssocID="{C0C24BE3-642E-4CB0-B94B-E13D49D5D787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BB8E379-4CC9-441D-B841-0E3B4C90D3F6}" type="pres">
      <dgm:prSet presAssocID="{F4F1B2DC-7E9E-43FA-992E-94CE8EFBD14E}" presName="spacer" presStyleCnt="0"/>
      <dgm:spPr/>
    </dgm:pt>
    <dgm:pt modelId="{69C05AE6-EE41-46E0-B6A7-9EA73A40D00E}" type="pres">
      <dgm:prSet presAssocID="{D9ADAC9B-B310-4B90-B787-C28CD4116E03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0F30344-F76C-4C01-91F5-975FBC791524}" type="pres">
      <dgm:prSet presAssocID="{37778E40-C97F-4E00-9703-97A61E36304A}" presName="spacer" presStyleCnt="0"/>
      <dgm:spPr/>
    </dgm:pt>
    <dgm:pt modelId="{312D2098-0EF2-419A-8DF9-15BCFAB678C5}" type="pres">
      <dgm:prSet presAssocID="{95CA64DD-4C13-4A8B-B835-B7A1D9502030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2FF6B53-138D-431C-B951-D1E142559FC1}" srcId="{6B6F7BC6-54CE-420F-9F6A-449888364985}" destId="{D9ADAC9B-B310-4B90-B787-C28CD4116E03}" srcOrd="1" destOrd="0" parTransId="{0BD9808C-8A2A-43EB-A77C-FB65B1F42182}" sibTransId="{37778E40-C97F-4E00-9703-97A61E36304A}"/>
    <dgm:cxn modelId="{9B9FCE7D-AECE-4A11-8EFC-5982B466CBEC}" type="presOf" srcId="{95CA64DD-4C13-4A8B-B835-B7A1D9502030}" destId="{312D2098-0EF2-419A-8DF9-15BCFAB678C5}" srcOrd="0" destOrd="0" presId="urn:microsoft.com/office/officeart/2005/8/layout/vList2"/>
    <dgm:cxn modelId="{0FFDCDAE-A20A-476E-95B2-8D66110CA8E4}" type="presOf" srcId="{6B6F7BC6-54CE-420F-9F6A-449888364985}" destId="{95DDA951-BE80-4380-A047-C7BF04EAA8FD}" srcOrd="0" destOrd="0" presId="urn:microsoft.com/office/officeart/2005/8/layout/vList2"/>
    <dgm:cxn modelId="{4543C110-777D-407F-9377-6D399DB6C45E}" type="presOf" srcId="{D9ADAC9B-B310-4B90-B787-C28CD4116E03}" destId="{69C05AE6-EE41-46E0-B6A7-9EA73A40D00E}" srcOrd="0" destOrd="0" presId="urn:microsoft.com/office/officeart/2005/8/layout/vList2"/>
    <dgm:cxn modelId="{1B989F18-F187-42FA-BE71-64C5EBEC9939}" type="presOf" srcId="{C0C24BE3-642E-4CB0-B94B-E13D49D5D787}" destId="{EB03F6D8-2B58-4BB1-92F6-80748D595798}" srcOrd="0" destOrd="0" presId="urn:microsoft.com/office/officeart/2005/8/layout/vList2"/>
    <dgm:cxn modelId="{2D061114-BF78-43DC-9FB2-3C6357775962}" srcId="{6B6F7BC6-54CE-420F-9F6A-449888364985}" destId="{95CA64DD-4C13-4A8B-B835-B7A1D9502030}" srcOrd="2" destOrd="0" parTransId="{9AF80C02-ABC1-40DF-A7E9-01FF624CB10A}" sibTransId="{F6A7A75A-7780-46FD-9238-7580AF64F77A}"/>
    <dgm:cxn modelId="{5168F4F6-FC7D-4D19-89B1-95C4E03249A3}" srcId="{6B6F7BC6-54CE-420F-9F6A-449888364985}" destId="{C0C24BE3-642E-4CB0-B94B-E13D49D5D787}" srcOrd="0" destOrd="0" parTransId="{50F6989F-6BF8-4015-B0F8-35FAB38D2F9A}" sibTransId="{F4F1B2DC-7E9E-43FA-992E-94CE8EFBD14E}"/>
    <dgm:cxn modelId="{6D8BB4E9-BE30-48DE-9F34-3D5BC1661B69}" type="presParOf" srcId="{95DDA951-BE80-4380-A047-C7BF04EAA8FD}" destId="{EB03F6D8-2B58-4BB1-92F6-80748D595798}" srcOrd="0" destOrd="0" presId="urn:microsoft.com/office/officeart/2005/8/layout/vList2"/>
    <dgm:cxn modelId="{ED52948E-A08C-4E3C-9006-59A170DC23F8}" type="presParOf" srcId="{95DDA951-BE80-4380-A047-C7BF04EAA8FD}" destId="{CBB8E379-4CC9-441D-B841-0E3B4C90D3F6}" srcOrd="1" destOrd="0" presId="urn:microsoft.com/office/officeart/2005/8/layout/vList2"/>
    <dgm:cxn modelId="{A6DD0604-3015-4450-857C-48BA4802AB27}" type="presParOf" srcId="{95DDA951-BE80-4380-A047-C7BF04EAA8FD}" destId="{69C05AE6-EE41-46E0-B6A7-9EA73A40D00E}" srcOrd="2" destOrd="0" presId="urn:microsoft.com/office/officeart/2005/8/layout/vList2"/>
    <dgm:cxn modelId="{1444470A-05B8-40B3-8CC6-8BDCBFEE28ED}" type="presParOf" srcId="{95DDA951-BE80-4380-A047-C7BF04EAA8FD}" destId="{F0F30344-F76C-4C01-91F5-975FBC791524}" srcOrd="3" destOrd="0" presId="urn:microsoft.com/office/officeart/2005/8/layout/vList2"/>
    <dgm:cxn modelId="{A36F93C6-C5D2-47C6-BE46-910BFE8F01D2}" type="presParOf" srcId="{95DDA951-BE80-4380-A047-C7BF04EAA8FD}" destId="{312D2098-0EF2-419A-8DF9-15BCFAB678C5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B03F6D8-2B58-4BB1-92F6-80748D595798}">
      <dsp:nvSpPr>
        <dsp:cNvPr id="0" name=""/>
        <dsp:cNvSpPr/>
      </dsp:nvSpPr>
      <dsp:spPr>
        <a:xfrm>
          <a:off x="0" y="392678"/>
          <a:ext cx="6628804" cy="1330874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96000"/>
                <a:lumMod val="100000"/>
              </a:schemeClr>
            </a:gs>
            <a:gs pos="78000">
              <a:schemeClr val="accent2">
                <a:hueOff val="0"/>
                <a:satOff val="0"/>
                <a:lumOff val="0"/>
                <a:alphaOff val="0"/>
                <a:shade val="94000"/>
                <a:lumMod val="94000"/>
              </a:schemeClr>
            </a:gs>
          </a:gsLst>
          <a:lin ang="5400000" scaled="0"/>
        </a:gradFill>
        <a:ln>
          <a:noFill/>
        </a:ln>
        <a:effectLst>
          <a:outerShdw blurRad="38100" dist="254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lvl="0" algn="l" defTabSz="1555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500" kern="1200">
              <a:latin typeface="Trebuchet MS" panose="020B0603020202020204"/>
            </a:rPr>
            <a:t>Helps FAO identify fraud!</a:t>
          </a:r>
          <a:endParaRPr lang="en-US" sz="3500" kern="1200"/>
        </a:p>
      </dsp:txBody>
      <dsp:txXfrm>
        <a:off x="64968" y="457646"/>
        <a:ext cx="6498868" cy="1200938"/>
      </dsp:txXfrm>
    </dsp:sp>
    <dsp:sp modelId="{69C05AE6-EE41-46E0-B6A7-9EA73A40D00E}">
      <dsp:nvSpPr>
        <dsp:cNvPr id="0" name=""/>
        <dsp:cNvSpPr/>
      </dsp:nvSpPr>
      <dsp:spPr>
        <a:xfrm>
          <a:off x="0" y="1824353"/>
          <a:ext cx="6628804" cy="1330874"/>
        </a:xfrm>
        <a:prstGeom prst="roundRect">
          <a:avLst/>
        </a:prstGeom>
        <a:gradFill rotWithShape="0">
          <a:gsLst>
            <a:gs pos="0">
              <a:schemeClr val="accent2">
                <a:hueOff val="-1482143"/>
                <a:satOff val="7100"/>
                <a:lumOff val="6569"/>
                <a:alphaOff val="0"/>
                <a:tint val="96000"/>
                <a:lumMod val="100000"/>
              </a:schemeClr>
            </a:gs>
            <a:gs pos="78000">
              <a:schemeClr val="accent2">
                <a:hueOff val="-1482143"/>
                <a:satOff val="7100"/>
                <a:lumOff val="6569"/>
                <a:alphaOff val="0"/>
                <a:shade val="94000"/>
                <a:lumMod val="94000"/>
              </a:schemeClr>
            </a:gs>
          </a:gsLst>
          <a:lin ang="5400000" scaled="0"/>
        </a:gradFill>
        <a:ln>
          <a:noFill/>
        </a:ln>
        <a:effectLst>
          <a:outerShdw blurRad="38100" dist="254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lvl="0" algn="l" defTabSz="1555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500" kern="1200">
              <a:latin typeface="Trebuchet MS" panose="020B0603020202020204"/>
            </a:rPr>
            <a:t>Minimizes the amount of funds a student may have to repay!</a:t>
          </a:r>
          <a:endParaRPr lang="en-US" sz="3500" kern="1200"/>
        </a:p>
      </dsp:txBody>
      <dsp:txXfrm>
        <a:off x="64968" y="1889321"/>
        <a:ext cx="6498868" cy="1200938"/>
      </dsp:txXfrm>
    </dsp:sp>
    <dsp:sp modelId="{312D2098-0EF2-419A-8DF9-15BCFAB678C5}">
      <dsp:nvSpPr>
        <dsp:cNvPr id="0" name=""/>
        <dsp:cNvSpPr/>
      </dsp:nvSpPr>
      <dsp:spPr>
        <a:xfrm>
          <a:off x="0" y="3256027"/>
          <a:ext cx="6628804" cy="1330874"/>
        </a:xfrm>
        <a:prstGeom prst="roundRect">
          <a:avLst/>
        </a:prstGeom>
        <a:gradFill rotWithShape="0">
          <a:gsLst>
            <a:gs pos="0">
              <a:schemeClr val="accent2">
                <a:hueOff val="-2964286"/>
                <a:satOff val="14200"/>
                <a:lumOff val="13137"/>
                <a:alphaOff val="0"/>
                <a:tint val="96000"/>
                <a:lumMod val="100000"/>
              </a:schemeClr>
            </a:gs>
            <a:gs pos="78000">
              <a:schemeClr val="accent2">
                <a:hueOff val="-2964286"/>
                <a:satOff val="14200"/>
                <a:lumOff val="13137"/>
                <a:alphaOff val="0"/>
                <a:shade val="94000"/>
                <a:lumMod val="94000"/>
              </a:schemeClr>
            </a:gs>
          </a:gsLst>
          <a:lin ang="5400000" scaled="0"/>
        </a:gradFill>
        <a:ln>
          <a:noFill/>
        </a:ln>
        <a:effectLst>
          <a:outerShdw blurRad="38100" dist="254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lvl="0" algn="l" defTabSz="1555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500" kern="1200">
              <a:latin typeface="Trebuchet MS" panose="020B0603020202020204"/>
            </a:rPr>
            <a:t>Minimizes the amount of institutional liabilities!</a:t>
          </a:r>
          <a:endParaRPr lang="en-US" sz="3500" kern="1200"/>
        </a:p>
      </dsp:txBody>
      <dsp:txXfrm>
        <a:off x="64968" y="3320995"/>
        <a:ext cx="6498868" cy="120093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9773DA-D01B-334B-AC59-3ABF9DB4C292}" type="datetimeFigureOut">
              <a:rPr lang="en-US" smtClean="0"/>
              <a:t>3/2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29F4A1-7C1A-254C-8043-656392D49E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65682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29F4A1-7C1A-254C-8043-656392D49E74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93029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F872FF-4170-564C-B147-D0925C29C9CB}" type="datetimeFigureOut">
              <a:rPr lang="en-US" smtClean="0"/>
              <a:t>3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D6A32F-CFBA-884F-9107-9D25814362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70954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F872FF-4170-564C-B147-D0925C29C9CB}" type="datetimeFigureOut">
              <a:rPr lang="en-US" smtClean="0"/>
              <a:t>3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D6A32F-CFBA-884F-9107-9D25814362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7609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F872FF-4170-564C-B147-D0925C29C9CB}" type="datetimeFigureOut">
              <a:rPr lang="en-US" smtClean="0"/>
              <a:t>3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D6A32F-CFBA-884F-9107-9D2581436290}" type="slidenum">
              <a:rPr lang="en-US" smtClean="0"/>
              <a:t>‹#›</a:t>
            </a:fld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673714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F872FF-4170-564C-B147-D0925C29C9CB}" type="datetimeFigureOut">
              <a:rPr lang="en-US" smtClean="0"/>
              <a:t>3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D6A32F-CFBA-884F-9107-9D25814362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88185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F872FF-4170-564C-B147-D0925C29C9CB}" type="datetimeFigureOut">
              <a:rPr lang="en-US" smtClean="0"/>
              <a:t>3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D6A32F-CFBA-884F-9107-9D2581436290}" type="slidenum">
              <a:rPr lang="en-US" smtClean="0"/>
              <a:t>‹#›</a:t>
            </a:fld>
            <a:endParaRPr lang="en-US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1410261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F872FF-4170-564C-B147-D0925C29C9CB}" type="datetimeFigureOut">
              <a:rPr lang="en-US" smtClean="0"/>
              <a:t>3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D6A32F-CFBA-884F-9107-9D25814362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11037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F872FF-4170-564C-B147-D0925C29C9CB}" type="datetimeFigureOut">
              <a:rPr lang="en-US" smtClean="0"/>
              <a:t>3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D6A32F-CFBA-884F-9107-9D25814362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85586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F872FF-4170-564C-B147-D0925C29C9CB}" type="datetimeFigureOut">
              <a:rPr lang="en-US" smtClean="0"/>
              <a:t>3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D6A32F-CFBA-884F-9107-9D25814362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61577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F872FF-4170-564C-B147-D0925C29C9CB}" type="datetimeFigureOut">
              <a:rPr lang="en-US" smtClean="0"/>
              <a:t>3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D6A32F-CFBA-884F-9107-9D25814362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93362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F872FF-4170-564C-B147-D0925C29C9CB}" type="datetimeFigureOut">
              <a:rPr lang="en-US" smtClean="0"/>
              <a:t>3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D6A32F-CFBA-884F-9107-9D25814362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48044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F872FF-4170-564C-B147-D0925C29C9CB}" type="datetimeFigureOut">
              <a:rPr lang="en-US" smtClean="0"/>
              <a:t>3/2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D6A32F-CFBA-884F-9107-9D25814362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58145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F872FF-4170-564C-B147-D0925C29C9CB}" type="datetimeFigureOut">
              <a:rPr lang="en-US" smtClean="0"/>
              <a:t>3/2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D6A32F-CFBA-884F-9107-9D25814362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49029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F872FF-4170-564C-B147-D0925C29C9CB}" type="datetimeFigureOut">
              <a:rPr lang="en-US" smtClean="0"/>
              <a:t>3/2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D6A32F-CFBA-884F-9107-9D25814362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71444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F872FF-4170-564C-B147-D0925C29C9CB}" type="datetimeFigureOut">
              <a:rPr lang="en-US" smtClean="0"/>
              <a:t>3/2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D6A32F-CFBA-884F-9107-9D25814362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49331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F872FF-4170-564C-B147-D0925C29C9CB}" type="datetimeFigureOut">
              <a:rPr lang="en-US" smtClean="0"/>
              <a:t>3/2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D6A32F-CFBA-884F-9107-9D25814362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3113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F872FF-4170-564C-B147-D0925C29C9CB}" type="datetimeFigureOut">
              <a:rPr lang="en-US" smtClean="0"/>
              <a:t>3/2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D6A32F-CFBA-884F-9107-9D25814362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99122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F872FF-4170-564C-B147-D0925C29C9CB}" type="datetimeFigureOut">
              <a:rPr lang="en-US" smtClean="0"/>
              <a:t>3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2FD6A32F-CFBA-884F-9107-9D25814362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8130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  <p:sldLayoutId id="2147483758" r:id="rId11"/>
    <p:sldLayoutId id="2147483759" r:id="rId12"/>
    <p:sldLayoutId id="2147483760" r:id="rId13"/>
    <p:sldLayoutId id="2147483761" r:id="rId14"/>
    <p:sldLayoutId id="2147483762" r:id="rId15"/>
    <p:sldLayoutId id="2147483763" r:id="rId16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hyperlink" Target="https://smccd.hosted.panopto.com/Panopto/Pages/Viewer.aspx?id=5660d0e2-b026-41dc-aa8b-ad870151381a" TargetMode="Externa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https://cccnext.jira.com/wiki/spaces/PD/blog/2018/06/10/704315933/Development%2BSpam%2BFilter%2BWeb%2BService" TargetMode="Externa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1CA6A3-71EC-1941-ADCC-228AEBA97D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2600" y="2646669"/>
            <a:ext cx="9245600" cy="1534583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accent2"/>
                </a:solidFill>
              </a:rPr>
              <a:t>Spring 2022 Enrollment at Cañada College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C00E03FF-A6B3-5C47-B2B8-CAF4B075C4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7332" y="202531"/>
            <a:ext cx="4476135" cy="1943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745958" y="4708358"/>
            <a:ext cx="8718884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Prepared for the Planning and Budgeting Council</a:t>
            </a:r>
          </a:p>
          <a:p>
            <a:pPr algn="ctr"/>
            <a:r>
              <a:rPr lang="en-US" dirty="0" smtClean="0"/>
              <a:t>March 2, 2022</a:t>
            </a:r>
          </a:p>
          <a:p>
            <a:pPr algn="ctr"/>
            <a:endParaRPr lang="en-US" dirty="0"/>
          </a:p>
          <a:p>
            <a:pPr algn="ctr"/>
            <a:r>
              <a:rPr lang="en-US" sz="1400" dirty="0" smtClean="0"/>
              <a:t>By the Office of Enrollment and Student Support Services and the Office of Planning, Research and Institutional Effectiveness (PRIE)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2945582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46434" y="900049"/>
            <a:ext cx="8313419" cy="5957951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99411" y="93545"/>
            <a:ext cx="9686072" cy="823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87078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Inserted picture RelID:1"/>
          <p:cNvPicPr>
            <a:picLocks noChangeAspect="1"/>
          </p:cNvPicPr>
          <p:nvPr/>
        </p:nvPicPr>
        <p:blipFill rotWithShape="1">
          <a:blip r:embed="rId2"/>
          <a:srcRect t="36709" b="33416"/>
          <a:stretch/>
        </p:blipFill>
        <p:spPr>
          <a:xfrm>
            <a:off x="2050182" y="855945"/>
            <a:ext cx="7877475" cy="600205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99411" y="93545"/>
            <a:ext cx="9686072" cy="823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5671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nserted picture RelID:1"/>
          <p:cNvPicPr>
            <a:picLocks noChangeAspect="1"/>
          </p:cNvPicPr>
          <p:nvPr/>
        </p:nvPicPr>
        <p:blipFill rotWithShape="1">
          <a:blip r:embed="rId2"/>
          <a:srcRect t="66268" b="22298"/>
          <a:stretch/>
        </p:blipFill>
        <p:spPr>
          <a:xfrm>
            <a:off x="404261" y="1540043"/>
            <a:ext cx="11486884" cy="3349591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99411" y="93545"/>
            <a:ext cx="9686072" cy="823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465810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Inserted picture RelID:1"/>
          <p:cNvPicPr>
            <a:picLocks noChangeAspect="1"/>
          </p:cNvPicPr>
          <p:nvPr/>
        </p:nvPicPr>
        <p:blipFill rotWithShape="1">
          <a:blip r:embed="rId2"/>
          <a:srcRect t="77491"/>
          <a:stretch/>
        </p:blipFill>
        <p:spPr>
          <a:xfrm>
            <a:off x="721895" y="908468"/>
            <a:ext cx="10364000" cy="5949532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99411" y="93545"/>
            <a:ext cx="9686072" cy="823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75185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2F5D9F-E1BC-4130-9075-E9ABB2A4FF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609600"/>
            <a:ext cx="8965430" cy="1361704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chemeClr val="accent2">
                    <a:lumMod val="50000"/>
                  </a:schemeClr>
                </a:solidFill>
              </a:rPr>
              <a:t>Notable issues with Spring enrollment proces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9A6331-110C-45AD-B17D-3ABE0F7988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6746" y="1220694"/>
            <a:ext cx="8467256" cy="2839052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buFont typeface="Wingdings,Sans-Serif" charset="2"/>
              <a:buChar char="Ø"/>
            </a:pPr>
            <a:endParaRPr lang="en-US" dirty="0">
              <a:ea typeface="+mn-lt"/>
              <a:cs typeface="+mn-lt"/>
            </a:endParaRPr>
          </a:p>
          <a:p>
            <a:pPr marL="914400" lvl="2" indent="0">
              <a:buNone/>
            </a:pPr>
            <a:r>
              <a:rPr lang="en-US" sz="1600" dirty="0">
                <a:hlinkClick r:id="rId2"/>
              </a:rPr>
              <a:t>Link to the Fall 2021 Flex Day Session </a:t>
            </a:r>
            <a:endParaRPr lang="en-US" sz="1600" dirty="0"/>
          </a:p>
        </p:txBody>
      </p:sp>
      <p:pic>
        <p:nvPicPr>
          <p:cNvPr id="4" name="Picture 4" descr="Image of California Community Colleges memo warning about increased fraudulent activity.  ">
            <a:extLst>
              <a:ext uri="{FF2B5EF4-FFF2-40B4-BE49-F238E27FC236}">
                <a16:creationId xmlns:a16="http://schemas.microsoft.com/office/drawing/2014/main" id="{3C2E0C5A-D222-45A1-BB95-132191B461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4978" y="2085686"/>
            <a:ext cx="6922640" cy="4517401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58751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D0EBDF-E73D-D544-8C4B-51CD0CF6E5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4300" dirty="0">
                <a:solidFill>
                  <a:schemeClr val="accent2">
                    <a:lumMod val="50000"/>
                  </a:schemeClr>
                </a:solidFill>
              </a:rPr>
              <a:t>Strategy to mitigate financial aid-related fraud 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4CE6C7-43A8-644A-B59C-2D084CE8B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 fontScale="92500" lnSpcReduction="20000"/>
          </a:bodyPr>
          <a:lstStyle/>
          <a:p>
            <a:r>
              <a:rPr lang="en-US" sz="2000" dirty="0"/>
              <a:t>ITS extracts data and looks for "identifiers”</a:t>
            </a:r>
          </a:p>
          <a:p>
            <a:pPr marL="0" indent="0">
              <a:buNone/>
            </a:pPr>
            <a:r>
              <a:rPr lang="en-US" sz="2400" dirty="0"/>
              <a:t>		</a:t>
            </a:r>
            <a:r>
              <a:rPr lang="en-US" sz="1600" dirty="0"/>
              <a:t> example: out of area address, no phone number, no home address, G# in certain sequence, no emergency address…</a:t>
            </a:r>
          </a:p>
          <a:p>
            <a:r>
              <a:rPr lang="en-US" sz="2000" dirty="0"/>
              <a:t>ITS add holds to stop disbursement and future registration </a:t>
            </a:r>
          </a:p>
          <a:p>
            <a:r>
              <a:rPr lang="en-US" sz="2000" dirty="0"/>
              <a:t>Financial Aid email students to confirm identity prior to the release of funds and registration holds</a:t>
            </a:r>
          </a:p>
          <a:p>
            <a:r>
              <a:rPr lang="en-US" sz="2000" dirty="0"/>
              <a:t>Report suspected Title IV (FA) fraud to the U.S. Department of Education’s Office of Inspector General (OIG</a:t>
            </a:r>
            <a:r>
              <a:rPr lang="en-US" sz="1600" dirty="0"/>
              <a:t>)</a:t>
            </a:r>
          </a:p>
          <a:p>
            <a:r>
              <a:rPr lang="en-US" sz="2000" dirty="0"/>
              <a:t>Report Fraudulent activities every month to the CCCCO</a:t>
            </a:r>
          </a:p>
          <a:p>
            <a:r>
              <a:rPr lang="en-US" sz="2000" dirty="0"/>
              <a:t>Faculty</a:t>
            </a:r>
          </a:p>
          <a:p>
            <a:pPr marL="457200" lvl="1" indent="0">
              <a:buNone/>
            </a:pPr>
            <a:r>
              <a:rPr lang="en-US" dirty="0"/>
              <a:t>It is vital that faculty drop inactive students by removing non-attending students by the Census date to significantly reduce the likelihood that financial aid is disbursed fraudulently. </a:t>
            </a: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04645815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10AB57-A93C-497A-9730-6450A2D920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070" y="219456"/>
            <a:ext cx="8596668" cy="1320800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accent2">
                    <a:lumMod val="50000"/>
                  </a:schemeClr>
                </a:solidFill>
                <a:ea typeface="+mj-lt"/>
                <a:cs typeface="+mj-lt"/>
              </a:rPr>
              <a:t>Strategy to mitigate admission application fraud</a:t>
            </a:r>
            <a:endParaRPr lang="en-US" dirty="0">
              <a:solidFill>
                <a:schemeClr val="accent2">
                  <a:lumMod val="50000"/>
                </a:schemeClr>
              </a:solidFill>
              <a:highlight>
                <a:srgbClr val="FFFF00"/>
              </a:highlight>
              <a:ea typeface="+mj-lt"/>
              <a:cs typeface="+mj-l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5136EB-D950-43B6-893D-223609F785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334" y="1611949"/>
            <a:ext cx="9376956" cy="4234341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buFont typeface="Wingdings" charset="2"/>
              <a:buChar char="Ø"/>
            </a:pPr>
            <a:endParaRPr lang="en-US" dirty="0"/>
          </a:p>
          <a:p>
            <a:r>
              <a:rPr lang="en-US" dirty="0">
                <a:hlinkClick r:id="rId2"/>
              </a:rPr>
              <a:t>Spam Filter Web Service</a:t>
            </a:r>
            <a:endParaRPr lang="en-US" dirty="0">
              <a:ea typeface="+mn-lt"/>
              <a:cs typeface="+mn-lt"/>
            </a:endParaRPr>
          </a:p>
          <a:p>
            <a:pPr lvl="1"/>
            <a:r>
              <a:rPr lang="en-US" dirty="0">
                <a:ea typeface="+mn-lt"/>
                <a:cs typeface="+mn-lt"/>
              </a:rPr>
              <a:t>Applications set with “Checked Fraud” are sent to the Suspension folder (User Interface) awaiting confirmation by A&amp;R Staff</a:t>
            </a:r>
            <a:endParaRPr lang="en-US" dirty="0"/>
          </a:p>
          <a:p>
            <a:endParaRPr lang="en-US" dirty="0"/>
          </a:p>
          <a:p>
            <a:r>
              <a:rPr lang="en-US" sz="1600" dirty="0">
                <a:ea typeface="+mn-lt"/>
                <a:cs typeface="+mn-lt"/>
              </a:rPr>
              <a:t>A&amp;R staff review the applications in the SPAM folde</a:t>
            </a:r>
            <a:r>
              <a:rPr lang="en-US" dirty="0"/>
              <a:t>r</a:t>
            </a:r>
          </a:p>
          <a:p>
            <a:pPr lvl="1">
              <a:buFont typeface="Wingdings" pitchFamily="2" charset="2"/>
              <a:buChar char="ü"/>
            </a:pPr>
            <a:r>
              <a:rPr lang="en-US" dirty="0"/>
              <a:t> Request additional documentation if necessary to confirm the status of the application </a:t>
            </a:r>
          </a:p>
          <a:p>
            <a:pPr lvl="1">
              <a:buFont typeface="Wingdings" pitchFamily="2" charset="2"/>
              <a:buChar char="ü"/>
            </a:pPr>
            <a:r>
              <a:rPr lang="en-US" dirty="0"/>
              <a:t> Confirm the fraud status for each application </a:t>
            </a:r>
          </a:p>
          <a:p>
            <a:pPr lvl="1">
              <a:buFont typeface="Wingdings" pitchFamily="2" charset="2"/>
              <a:buChar char="ü"/>
            </a:pPr>
            <a:endParaRPr lang="en-US" dirty="0"/>
          </a:p>
          <a:p>
            <a:pPr lvl="1">
              <a:buFont typeface="Wingdings" pitchFamily="2" charset="2"/>
              <a:buChar char="ü"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05041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50D711-A8AB-5E45-BF60-9080FACC4C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2">
                    <a:lumMod val="50000"/>
                  </a:schemeClr>
                </a:solidFill>
                <a:ea typeface="+mj-lt"/>
                <a:cs typeface="+mj-lt"/>
              </a:rPr>
              <a:t>Strategy to mitigate admission application fraud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FBAB3D-281E-B44E-A138-9EA1E98087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334" y="2160589"/>
            <a:ext cx="8873066" cy="4697411"/>
          </a:xfrm>
        </p:spPr>
        <p:txBody>
          <a:bodyPr/>
          <a:lstStyle/>
          <a:p>
            <a:r>
              <a:rPr lang="en-US" dirty="0" err="1"/>
              <a:t>CCCApply</a:t>
            </a:r>
            <a:r>
              <a:rPr lang="en-US" dirty="0"/>
              <a:t> Application SPAM Filter Folder Daily Verification Process:</a:t>
            </a:r>
          </a:p>
          <a:p>
            <a:pPr lvl="0"/>
            <a:r>
              <a:rPr lang="en-US" dirty="0"/>
              <a:t>(Confirm if the legal address is a “real address” on google maps for every student</a:t>
            </a:r>
          </a:p>
          <a:p>
            <a:pPr lvl="1"/>
            <a:r>
              <a:rPr lang="en-US" dirty="0"/>
              <a:t>If “fake address” leave application in the SPAM Folder</a:t>
            </a:r>
          </a:p>
          <a:p>
            <a:pPr lvl="1"/>
            <a:r>
              <a:rPr lang="en-US" dirty="0"/>
              <a:t>If identified as a “real address”, and has missing information </a:t>
            </a:r>
          </a:p>
          <a:p>
            <a:pPr lvl="2"/>
            <a:r>
              <a:rPr lang="en-US" dirty="0"/>
              <a:t>A&amp;R Staff. will reach out to </a:t>
            </a:r>
            <a:r>
              <a:rPr lang="en-US" dirty="0">
                <a:highlight>
                  <a:srgbClr val="FFFF00"/>
                </a:highlight>
              </a:rPr>
              <a:t>the student both by email and phone call</a:t>
            </a:r>
            <a:r>
              <a:rPr lang="en-US" dirty="0"/>
              <a:t> to inform them the application is incomplete:</a:t>
            </a:r>
          </a:p>
          <a:p>
            <a:pPr lvl="3"/>
            <a:r>
              <a:rPr lang="en-US" dirty="0"/>
              <a:t>Email: will include the “Change of Personal Information” Form, which must be emailed back complete with a copy of a government picture ID.</a:t>
            </a:r>
          </a:p>
          <a:p>
            <a:pPr lvl="3"/>
            <a:r>
              <a:rPr lang="en-US" dirty="0"/>
              <a:t>Once the form is received, the student application is updated and download into BANNER and student will receive the “Cañada College Welcome Letter </a:t>
            </a:r>
          </a:p>
          <a:p>
            <a:pPr lvl="3"/>
            <a:r>
              <a:rPr lang="en-US" dirty="0"/>
              <a:t>Please Note:  If the student doesn’t respond to either the email or phone message, a copy of the email is placed in a “Pending File” for follow-up or until the student reaches out to us</a:t>
            </a:r>
          </a:p>
          <a:p>
            <a:pPr lvl="3"/>
            <a:endParaRPr lang="en-US" dirty="0"/>
          </a:p>
          <a:p>
            <a:pPr marL="1371600" lvl="3" indent="0">
              <a:buNone/>
            </a:pP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019862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BE187A-6A6E-F046-87BF-E0C44BEF47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3" y="609600"/>
            <a:ext cx="9392355" cy="1309511"/>
          </a:xfrm>
        </p:spPr>
        <p:txBody>
          <a:bodyPr>
            <a:normAutofit/>
          </a:bodyPr>
          <a:lstStyle/>
          <a:p>
            <a:r>
              <a:rPr lang="en-US" b="1" dirty="0"/>
              <a:t>Self-Identified as a Homeless student</a:t>
            </a:r>
            <a:r>
              <a:rPr lang="en-US" dirty="0"/>
              <a:t>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FCE2CA-3BF4-3049-9869-BF46CE6E8A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334" y="1738489"/>
            <a:ext cx="9392354" cy="4605867"/>
          </a:xfrm>
        </p:spPr>
        <p:txBody>
          <a:bodyPr>
            <a:normAutofit/>
          </a:bodyPr>
          <a:lstStyle/>
          <a:p>
            <a:r>
              <a:rPr lang="en-US" dirty="0"/>
              <a:t>If the student selects the </a:t>
            </a:r>
            <a:r>
              <a:rPr lang="en-US" b="1" i="1" dirty="0"/>
              <a:t>“I have no permanent address.  I am currently homeless”</a:t>
            </a:r>
            <a:r>
              <a:rPr lang="en-US" dirty="0"/>
              <a:t> box on the CCCAPPLY application, the application is downloaded directly into SWACCAP on BANNER.  </a:t>
            </a:r>
          </a:p>
          <a:p>
            <a:pPr lvl="0"/>
            <a:r>
              <a:rPr lang="en-US" dirty="0"/>
              <a:t>Staff contacts the student and emails them the “Homeless Student Certification Form” which needs to be sent back to the Admissions Office to process.</a:t>
            </a:r>
          </a:p>
          <a:p>
            <a:pPr lvl="0"/>
            <a:r>
              <a:rPr lang="en-US" dirty="0"/>
              <a:t>We add the Cañada College address as their “Legal Address” and upload the application</a:t>
            </a:r>
          </a:p>
          <a:p>
            <a:pPr lvl="0"/>
            <a:r>
              <a:rPr lang="en-US" dirty="0"/>
              <a:t>We forward the completed “Homeless Student Certification Form” to both the Financial Aid and </a:t>
            </a:r>
            <a:r>
              <a:rPr lang="en-US" dirty="0" err="1"/>
              <a:t>SparkPoint</a:t>
            </a:r>
            <a:r>
              <a:rPr lang="en-US" dirty="0"/>
              <a:t> Teams, which they follow-up with student</a:t>
            </a:r>
          </a:p>
          <a:p>
            <a:pPr lvl="0"/>
            <a:r>
              <a:rPr lang="en-US" dirty="0"/>
              <a:t>An email confirmation is sent to student which also include both the Financial Aid and </a:t>
            </a:r>
            <a:r>
              <a:rPr lang="en-US" dirty="0" err="1"/>
              <a:t>SparkPoint</a:t>
            </a:r>
            <a:r>
              <a:rPr lang="en-US" dirty="0"/>
              <a:t> services informat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47159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655AE6B0-AC9E-4167-806F-E9DB135FC46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CEBC8F-3146-3E46-A101-DF197A9534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481" y="1382486"/>
            <a:ext cx="3547581" cy="4093028"/>
          </a:xfrm>
        </p:spPr>
        <p:txBody>
          <a:bodyPr anchor="ctr">
            <a:normAutofit/>
          </a:bodyPr>
          <a:lstStyle/>
          <a:p>
            <a:r>
              <a:rPr lang="en-US" sz="4400"/>
              <a:t>Importance of Censu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523416A-383B-4FDC-B4C9-D8EDDFE9C04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329267" y="-8467"/>
            <a:ext cx="4766733" cy="6866467"/>
            <a:chOff x="7425267" y="-8467"/>
            <a:chExt cx="4766733" cy="6866467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CB0D29D5-3F7C-4197-821B-6D60A66CC04B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rgbClr val="BFBFBF">
                  <a:alpha val="75000"/>
                </a:srgb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47FB49A-3541-428A-AADE-682A3C50563D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rgbClr val="BFBFBF">
                  <a:alpha val="80000"/>
                </a:srgb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Rectangle 23">
              <a:extLst>
                <a:ext uri="{FF2B5EF4-FFF2-40B4-BE49-F238E27FC236}">
                  <a16:creationId xmlns:a16="http://schemas.microsoft.com/office/drawing/2014/main" id="{D96F53DC-08F1-42C6-B558-B83D54B27664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Rectangle 25">
              <a:extLst>
                <a:ext uri="{FF2B5EF4-FFF2-40B4-BE49-F238E27FC236}">
                  <a16:creationId xmlns:a16="http://schemas.microsoft.com/office/drawing/2014/main" id="{AFE48CAF-A51C-463F-A570-ED99439A5CA3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Isosceles Triangle 15">
              <a:extLst>
                <a:ext uri="{FF2B5EF4-FFF2-40B4-BE49-F238E27FC236}">
                  <a16:creationId xmlns:a16="http://schemas.microsoft.com/office/drawing/2014/main" id="{01F0C48B-50FF-4351-8207-16D096048311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Rectangle 27">
              <a:extLst>
                <a:ext uri="{FF2B5EF4-FFF2-40B4-BE49-F238E27FC236}">
                  <a16:creationId xmlns:a16="http://schemas.microsoft.com/office/drawing/2014/main" id="{300384B6-5ED6-4F91-A548-B706D837513E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Rectangle 28">
              <a:extLst>
                <a:ext uri="{FF2B5EF4-FFF2-40B4-BE49-F238E27FC236}">
                  <a16:creationId xmlns:a16="http://schemas.microsoft.com/office/drawing/2014/main" id="{337AFFAE-C182-463C-9459-8AB3C69D9A29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Rectangle 29">
              <a:extLst>
                <a:ext uri="{FF2B5EF4-FFF2-40B4-BE49-F238E27FC236}">
                  <a16:creationId xmlns:a16="http://schemas.microsoft.com/office/drawing/2014/main" id="{510ACF17-C3F0-42BF-BDEB-D079277121E4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Isosceles Triangle 19">
              <a:extLst>
                <a:ext uri="{FF2B5EF4-FFF2-40B4-BE49-F238E27FC236}">
                  <a16:creationId xmlns:a16="http://schemas.microsoft.com/office/drawing/2014/main" id="{E804EFD0-B84E-476F-9FC6-6C4A42EA0054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87BD1F4E-A66D-4C06-86DA-8D56CA7A3B4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977719" y="0"/>
            <a:ext cx="6214281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55F91223-C7CB-4693-B18C-A0585795789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12898953"/>
              </p:ext>
            </p:extLst>
          </p:nvPr>
        </p:nvGraphicFramePr>
        <p:xfrm>
          <a:off x="4916553" y="944563"/>
          <a:ext cx="6628804" cy="49795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1448599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3CEE1B-7055-3948-BE9A-2537C02306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800" dirty="0">
                <a:solidFill>
                  <a:schemeClr val="accent2">
                    <a:lumMod val="50000"/>
                  </a:schemeClr>
                </a:solidFill>
              </a:rPr>
              <a:t>Outline</a:t>
            </a:r>
            <a:r>
              <a:rPr lang="en-US" dirty="0"/>
              <a:t>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556552-FAE9-DB47-AB9A-3DB7B7BA172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334" y="2160589"/>
            <a:ext cx="9250910" cy="3880773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2400" dirty="0"/>
              <a:t>Context</a:t>
            </a:r>
          </a:p>
          <a:p>
            <a:r>
              <a:rPr lang="en-US" sz="2400" dirty="0"/>
              <a:t>Enrollment Landscape Data</a:t>
            </a:r>
          </a:p>
          <a:p>
            <a:r>
              <a:rPr lang="en-US" sz="2400" dirty="0">
                <a:ea typeface="+mn-lt"/>
                <a:cs typeface="+mn-lt"/>
              </a:rPr>
              <a:t>Vaccination Attestation and Enrollment </a:t>
            </a:r>
            <a:endParaRPr lang="en-US" sz="2400" dirty="0"/>
          </a:p>
          <a:p>
            <a:r>
              <a:rPr lang="en-US" sz="2400" dirty="0">
                <a:ea typeface="+mn-lt"/>
                <a:cs typeface="+mn-lt"/>
              </a:rPr>
              <a:t>Notable issues with Spring enrollment process</a:t>
            </a:r>
          </a:p>
          <a:p>
            <a:r>
              <a:rPr lang="en-US" sz="2400" dirty="0">
                <a:ea typeface="+mn-lt"/>
                <a:cs typeface="+mn-lt"/>
              </a:rPr>
              <a:t>Possible areas for improvement </a:t>
            </a:r>
          </a:p>
        </p:txBody>
      </p:sp>
    </p:spTree>
    <p:extLst>
      <p:ext uri="{BB962C8B-B14F-4D97-AF65-F5344CB8AC3E}">
        <p14:creationId xmlns:p14="http://schemas.microsoft.com/office/powerpoint/2010/main" val="36829331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183E37-9DF5-2D49-A9CB-93F11817F3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95633" y="105137"/>
            <a:ext cx="8596668" cy="1320800"/>
          </a:xfrm>
        </p:spPr>
        <p:txBody>
          <a:bodyPr/>
          <a:lstStyle/>
          <a:p>
            <a:r>
              <a:rPr lang="en-US" sz="3900" dirty="0">
                <a:solidFill>
                  <a:schemeClr val="accent2">
                    <a:lumMod val="50000"/>
                  </a:schemeClr>
                </a:solidFill>
              </a:rPr>
              <a:t>Notable issues with Spring enrollment process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BB45F073-EB5C-F446-8F8F-336E1F2921A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82557405"/>
              </p:ext>
            </p:extLst>
          </p:nvPr>
        </p:nvGraphicFramePr>
        <p:xfrm>
          <a:off x="1395633" y="1949893"/>
          <a:ext cx="8865967" cy="35013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38633">
                  <a:extLst>
                    <a:ext uri="{9D8B030D-6E8A-4147-A177-3AD203B41FA5}">
                      <a16:colId xmlns:a16="http://schemas.microsoft.com/office/drawing/2014/main" val="2858131499"/>
                    </a:ext>
                  </a:extLst>
                </a:gridCol>
                <a:gridCol w="1745005">
                  <a:extLst>
                    <a:ext uri="{9D8B030D-6E8A-4147-A177-3AD203B41FA5}">
                      <a16:colId xmlns:a16="http://schemas.microsoft.com/office/drawing/2014/main" val="303681638"/>
                    </a:ext>
                  </a:extLst>
                </a:gridCol>
                <a:gridCol w="1599846">
                  <a:extLst>
                    <a:ext uri="{9D8B030D-6E8A-4147-A177-3AD203B41FA5}">
                      <a16:colId xmlns:a16="http://schemas.microsoft.com/office/drawing/2014/main" val="546630120"/>
                    </a:ext>
                  </a:extLst>
                </a:gridCol>
                <a:gridCol w="1155419">
                  <a:extLst>
                    <a:ext uri="{9D8B030D-6E8A-4147-A177-3AD203B41FA5}">
                      <a16:colId xmlns:a16="http://schemas.microsoft.com/office/drawing/2014/main" val="2995294382"/>
                    </a:ext>
                  </a:extLst>
                </a:gridCol>
                <a:gridCol w="1027064">
                  <a:extLst>
                    <a:ext uri="{9D8B030D-6E8A-4147-A177-3AD203B41FA5}">
                      <a16:colId xmlns:a16="http://schemas.microsoft.com/office/drawing/2014/main" val="1143640208"/>
                    </a:ext>
                  </a:extLst>
                </a:gridCol>
              </a:tblGrid>
              <a:tr h="500148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ctober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ember 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cember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nuary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15578640"/>
                  </a:ext>
                </a:extLst>
              </a:tr>
              <a:tr h="818741">
                <a:tc>
                  <a:txBody>
                    <a:bodyPr/>
                    <a:lstStyle/>
                    <a:p>
                      <a:r>
                        <a:rPr lang="en-US" sz="1800" b="1" i="0" u="none" strike="noStrike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Times" pitchFamily="2" charset="0"/>
                          <a:ea typeface="+mn-ea"/>
                          <a:cs typeface="+mn-cs"/>
                        </a:rPr>
                        <a:t>Number of fraudulent admission applications identified</a:t>
                      </a:r>
                      <a:endParaRPr lang="en-US" sz="18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Times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  <a:endParaRPr lang="en-US" sz="28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  <a:endParaRPr lang="en-US" sz="28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2</a:t>
                      </a:r>
                      <a:endParaRPr lang="en-US" sz="28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5</a:t>
                      </a:r>
                      <a:endParaRPr lang="en-US" sz="28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018317635"/>
                  </a:ext>
                </a:extLst>
              </a:tr>
              <a:tr h="62380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Times" pitchFamily="2" charset="0"/>
                        </a:rPr>
                        <a:t>Number of fraudulent enrollments identified</a:t>
                      </a:r>
                      <a:endParaRPr lang="en-US" sz="10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Times" pitchFamily="2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US" sz="2800" dirty="0"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US" sz="2800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US" sz="2800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dirty="0"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r>
                        <a:rPr lang="en-US" sz="28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en-US" sz="28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505715758"/>
                  </a:ext>
                </a:extLst>
              </a:tr>
              <a:tr h="62380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Times" pitchFamily="2" charset="0"/>
                        </a:rPr>
                        <a:t>Number of fraudulent financial aid applicants (Not Registered for classes)</a:t>
                      </a:r>
                      <a:endParaRPr lang="en-US" sz="10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Times" pitchFamily="2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9</a:t>
                      </a:r>
                      <a:r>
                        <a:rPr lang="en-US" sz="2800" dirty="0"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US" sz="2800" dirty="0"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US" sz="2800"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US" sz="2800"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89567833"/>
                  </a:ext>
                </a:extLst>
              </a:tr>
              <a:tr h="665212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Times" pitchFamily="2" charset="0"/>
                        </a:rPr>
                        <a:t>Amount of federal, Cal Grant, and other local financial aid issued to fraudulent individuals</a:t>
                      </a:r>
                      <a:endParaRPr lang="en-US" sz="10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Times" pitchFamily="2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US" sz="2800" dirty="0"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dirty="0"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dirty="0"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dirty="0"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91007914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3169149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13B020-AF6D-8445-9566-86E0CF02CE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4800" dirty="0">
                <a:solidFill>
                  <a:schemeClr val="accent2">
                    <a:lumMod val="50000"/>
                  </a:schemeClr>
                </a:solidFill>
              </a:rPr>
              <a:t>Vaccination Attestation and Enrollment </a:t>
            </a:r>
            <a:r>
              <a:rPr lang="en-US" dirty="0">
                <a:ea typeface="+mn-lt"/>
                <a:cs typeface="+mn-lt"/>
              </a:rPr>
              <a:t/>
            </a:r>
            <a:br>
              <a:rPr lang="en-US" dirty="0">
                <a:ea typeface="+mn-lt"/>
                <a:cs typeface="+mn-lt"/>
              </a:rPr>
            </a:br>
            <a:endParaRPr lang="en-US" dirty="0"/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2C8144D1-51FF-FD45-A26B-2F9C9065B3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Calibri" panose="020F0502020204030204" pitchFamily="34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D3D98C0B-04E6-FF49-B92E-DAFCD75EEEEC}"/>
              </a:ext>
            </a:extLst>
          </p:cNvPr>
          <p:cNvGraphicFramePr>
            <a:graphicFrameLocks noGrp="1"/>
          </p:cNvGraphicFramePr>
          <p:nvPr/>
        </p:nvGraphicFramePr>
        <p:xfrm>
          <a:off x="902523" y="2082800"/>
          <a:ext cx="7968345" cy="380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75732">
                  <a:extLst>
                    <a:ext uri="{9D8B030D-6E8A-4147-A177-3AD203B41FA5}">
                      <a16:colId xmlns:a16="http://schemas.microsoft.com/office/drawing/2014/main" val="3478777907"/>
                    </a:ext>
                  </a:extLst>
                </a:gridCol>
                <a:gridCol w="3992613">
                  <a:extLst>
                    <a:ext uri="{9D8B030D-6E8A-4147-A177-3AD203B41FA5}">
                      <a16:colId xmlns:a16="http://schemas.microsoft.com/office/drawing/2014/main" val="4159205268"/>
                    </a:ext>
                  </a:extLst>
                </a:gridCol>
              </a:tblGrid>
              <a:tr h="87824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</a:rPr>
                        <a:t>Total student enrollment Spring 2022 (headcount) 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26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8999149"/>
                  </a:ext>
                </a:extLst>
              </a:tr>
              <a:tr h="351296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accination Approv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44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42189941"/>
                  </a:ext>
                </a:extLst>
              </a:tr>
              <a:tr h="614768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accination Declined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</a:endParaRPr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5581854"/>
                  </a:ext>
                </a:extLst>
              </a:tr>
              <a:tr h="614768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cline to State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</a:endParaRPr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7775669"/>
                  </a:ext>
                </a:extLst>
              </a:tr>
              <a:tr h="614768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cal Exempt App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</a:endParaRPr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66067317"/>
                  </a:ext>
                </a:extLst>
              </a:tr>
              <a:tr h="614768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ligious Exempt App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</a:endParaRPr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351727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534642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267BB9-FC29-384C-8589-EBB239AE50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Vaccination Attestation and Enrollment</a:t>
            </a:r>
            <a:endParaRPr lang="en-US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C9E3F0EE-2909-994E-BAC5-093ACBA3EA71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677334" y="1481874"/>
          <a:ext cx="6227506" cy="7388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547607">
                  <a:extLst>
                    <a:ext uri="{9D8B030D-6E8A-4147-A177-3AD203B41FA5}">
                      <a16:colId xmlns:a16="http://schemas.microsoft.com/office/drawing/2014/main" val="379390115"/>
                    </a:ext>
                  </a:extLst>
                </a:gridCol>
                <a:gridCol w="1679899">
                  <a:extLst>
                    <a:ext uri="{9D8B030D-6E8A-4147-A177-3AD203B41FA5}">
                      <a16:colId xmlns:a16="http://schemas.microsoft.com/office/drawing/2014/main" val="2975120135"/>
                    </a:ext>
                  </a:extLst>
                </a:gridCol>
              </a:tblGrid>
              <a:tr h="43561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u="none" strike="noStrike" dirty="0">
                          <a:effectLst/>
                        </a:rPr>
                        <a:t>First COVID Drop Date 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u="none" strike="noStrike" dirty="0">
                          <a:effectLst/>
                        </a:rPr>
                        <a:t>11/19/21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609758000"/>
                  </a:ext>
                </a:extLst>
              </a:tr>
              <a:tr h="30319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u="none" strike="noStrike" dirty="0">
                          <a:effectLst/>
                        </a:rPr>
                        <a:t>Last COVID Drop Date 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600" b="1" u="none" strike="noStrike" dirty="0">
                          <a:effectLst/>
                        </a:rPr>
                        <a:t>1/15/22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4735801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56120338-EE3F-6140-B1B1-AD2E26BA9D2E}"/>
              </a:ext>
            </a:extLst>
          </p:cNvPr>
          <p:cNvSpPr txBox="1"/>
          <p:nvPr/>
        </p:nvSpPr>
        <p:spPr>
          <a:xfrm>
            <a:off x="6234545" y="334884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B0F0C61-D273-F848-9FDC-5393A82A13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7333" y="2564164"/>
            <a:ext cx="8472939" cy="145771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BC7606D-D640-FE45-A483-1C0E98AC3C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7333" y="4655638"/>
            <a:ext cx="8472939" cy="171143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E807ECD-51BA-C246-B637-1D152EC9805E}"/>
              </a:ext>
            </a:extLst>
          </p:cNvPr>
          <p:cNvSpPr txBox="1"/>
          <p:nvPr/>
        </p:nvSpPr>
        <p:spPr>
          <a:xfrm>
            <a:off x="942955" y="4154090"/>
            <a:ext cx="569626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What Happen to the dropped students?</a:t>
            </a:r>
          </a:p>
        </p:txBody>
      </p:sp>
    </p:spTree>
    <p:extLst>
      <p:ext uri="{BB962C8B-B14F-4D97-AF65-F5344CB8AC3E}">
        <p14:creationId xmlns:p14="http://schemas.microsoft.com/office/powerpoint/2010/main" val="126960414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C95562-7B75-3C42-9329-DC54A14856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Attestation for Summer &amp; Fall 2022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5CC215-1FF4-BA44-83DF-2A1D2C59C1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334" y="2160589"/>
            <a:ext cx="8827910" cy="3766078"/>
          </a:xfrm>
        </p:spPr>
        <p:txBody>
          <a:bodyPr/>
          <a:lstStyle/>
          <a:p>
            <a:r>
              <a:rPr lang="en-US" dirty="0"/>
              <a:t>Students currently approved for in-person services will be able to enroll in Summer and Fall 2022 automatically.</a:t>
            </a:r>
          </a:p>
          <a:p>
            <a:r>
              <a:rPr lang="en-US" dirty="0"/>
              <a:t>To register for in-person classes and receive in-person services, you must provide proof of vaccination or qualify for an exemption</a:t>
            </a:r>
          </a:p>
          <a:p>
            <a:r>
              <a:rPr lang="en-US" dirty="0"/>
              <a:t>If you do not provide proof of vaccination or if you are not approved for an exemption, you may only register for online courses and receive virtual and remote support services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215643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C26B1B-FCE9-43DC-B676-4C62E10E1D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endParaRPr lang="en-US"/>
          </a:p>
          <a:p>
            <a:pPr marL="0" indent="0" algn="ctr">
              <a:buNone/>
            </a:pPr>
            <a:r>
              <a:rPr lang="en-US" sz="7200"/>
              <a:t>Q&amp;A </a:t>
            </a:r>
          </a:p>
        </p:txBody>
      </p:sp>
    </p:spTree>
    <p:extLst>
      <p:ext uri="{BB962C8B-B14F-4D97-AF65-F5344CB8AC3E}">
        <p14:creationId xmlns:p14="http://schemas.microsoft.com/office/powerpoint/2010/main" val="166028464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43275"/>
            <a:ext cx="12144894" cy="5157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694736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317635" y="240628"/>
          <a:ext cx="11194180" cy="6011780"/>
        </p:xfrm>
        <a:graphic>
          <a:graphicData uri="http://schemas.openxmlformats.org/drawingml/2006/table">
            <a:tbl>
              <a:tblPr/>
              <a:tblGrid>
                <a:gridCol w="5711317">
                  <a:extLst>
                    <a:ext uri="{9D8B030D-6E8A-4147-A177-3AD203B41FA5}">
                      <a16:colId xmlns:a16="http://schemas.microsoft.com/office/drawing/2014/main" val="2534349782"/>
                    </a:ext>
                  </a:extLst>
                </a:gridCol>
                <a:gridCol w="1827621">
                  <a:extLst>
                    <a:ext uri="{9D8B030D-6E8A-4147-A177-3AD203B41FA5}">
                      <a16:colId xmlns:a16="http://schemas.microsoft.com/office/drawing/2014/main" val="1087675097"/>
                    </a:ext>
                  </a:extLst>
                </a:gridCol>
                <a:gridCol w="1827621">
                  <a:extLst>
                    <a:ext uri="{9D8B030D-6E8A-4147-A177-3AD203B41FA5}">
                      <a16:colId xmlns:a16="http://schemas.microsoft.com/office/drawing/2014/main" val="2275147066"/>
                    </a:ext>
                  </a:extLst>
                </a:gridCol>
                <a:gridCol w="1827621">
                  <a:extLst>
                    <a:ext uri="{9D8B030D-6E8A-4147-A177-3AD203B41FA5}">
                      <a16:colId xmlns:a16="http://schemas.microsoft.com/office/drawing/2014/main" val="3002707736"/>
                    </a:ext>
                  </a:extLst>
                </a:gridCol>
              </a:tblGrid>
              <a:tr h="90412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añada Unduplicated Headcount Percentages by Modality </a:t>
                      </a:r>
                    </a:p>
                    <a:p>
                      <a:pPr algn="l" fontAlgn="b"/>
                      <a:r>
                        <a:rPr lang="en-US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(NOTE: Some students are enrolled in multiple modalities, so the percentages will not sum to 100%.)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pring 2021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Fall 2021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pring 2022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82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0748752"/>
                  </a:ext>
                </a:extLst>
              </a:tr>
              <a:tr h="27345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ACE TO FACE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8%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1%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3%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D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9723063"/>
                  </a:ext>
                </a:extLst>
              </a:tr>
              <a:tr h="27345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YBRID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6%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7%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9%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0200200"/>
                  </a:ext>
                </a:extLst>
              </a:tr>
              <a:tr h="27345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NLINE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.6%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.6%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.3%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5944410"/>
                  </a:ext>
                </a:extLst>
              </a:tr>
              <a:tr h="27345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NCHRONOUS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.2%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.5%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1%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6652114"/>
                  </a:ext>
                </a:extLst>
              </a:tr>
              <a:tr h="16378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708" marR="4708" marT="470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708" marR="4708" marT="470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708" marR="4708" marT="470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708" marR="4708" marT="470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2392874"/>
                  </a:ext>
                </a:extLst>
              </a:tr>
              <a:tr h="16378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708" marR="4708" marT="470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708" marR="4708" marT="470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708" marR="4708" marT="470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708" marR="4708" marT="470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5860218"/>
                  </a:ext>
                </a:extLst>
              </a:tr>
              <a:tr h="47975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añada Unduplicated Headcount Percentage by Type of Enrollment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pring 2021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Fall 2021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pring 2022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82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7491340"/>
                  </a:ext>
                </a:extLst>
              </a:tr>
              <a:tr h="30598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NROLLED EXCLUSIVELY FACE-TO-FACE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6%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2%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1%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D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1547209"/>
                  </a:ext>
                </a:extLst>
              </a:tr>
              <a:tr h="27345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NROLLED EXCLUSIVELY ONLINE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.9%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6%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1%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D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0163683"/>
                  </a:ext>
                </a:extLst>
              </a:tr>
              <a:tr h="27345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NROLLED EXCLUSIVELY HYBRID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8%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%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3%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D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6500660"/>
                  </a:ext>
                </a:extLst>
              </a:tr>
              <a:tr h="30598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NROLLED EXCLUSIVELY SYNCHRONOUS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7%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4%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1%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D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9829890"/>
                  </a:ext>
                </a:extLst>
              </a:tr>
              <a:tr h="60505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NROLLED IN FACE-TO-FACE AND AT LEAST ONE OTHER MODALITY, BUT NOT ENROLLED IN ALL MODALITIES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%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9%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8%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D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4652800"/>
                  </a:ext>
                </a:extLst>
              </a:tr>
              <a:tr h="60505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NROLLED IN ALL FOUR MODALITIES (FACE-TO-FACE, ONLINE, HYBRID, AND SYNCHRONOUS)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%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%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4%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D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1776840"/>
                  </a:ext>
                </a:extLst>
              </a:tr>
              <a:tr h="27345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LL OTHER COMBINATIONS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8%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0%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2%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D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3347579"/>
                  </a:ext>
                </a:extLst>
              </a:tr>
              <a:tr h="45552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NROLLED IN TWO OR THREE DIFFERENT MODALITIES, BUT NOT ALL FOUR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0%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9%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0%</a:t>
                      </a:r>
                    </a:p>
                  </a:txBody>
                  <a:tcPr marL="4708" marR="4708" marT="47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04119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742096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4056061"/>
              </p:ext>
            </p:extLst>
          </p:nvPr>
        </p:nvGraphicFramePr>
        <p:xfrm>
          <a:off x="-72190" y="497305"/>
          <a:ext cx="10499558" cy="63606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3007894" y="6642556"/>
            <a:ext cx="446308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/>
              <a:t>Data Sources: National Student Clearinghouse (US and CA); SMCCCD Data Warehouse (CAN)   </a:t>
            </a:r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38697205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6908" y="945931"/>
            <a:ext cx="10064917" cy="4654769"/>
          </a:xfrm>
          <a:prstGeom prst="rect">
            <a:avLst/>
          </a:prstGeom>
        </p:spPr>
      </p:pic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3571249"/>
              </p:ext>
            </p:extLst>
          </p:nvPr>
        </p:nvGraphicFramePr>
        <p:xfrm>
          <a:off x="4248066" y="5600700"/>
          <a:ext cx="3022600" cy="1143000"/>
        </p:xfrm>
        <a:graphic>
          <a:graphicData uri="http://schemas.openxmlformats.org/drawingml/2006/table">
            <a:tbl>
              <a:tblPr/>
              <a:tblGrid>
                <a:gridCol w="1661954">
                  <a:extLst>
                    <a:ext uri="{9D8B030D-6E8A-4147-A177-3AD203B41FA5}">
                      <a16:colId xmlns:a16="http://schemas.microsoft.com/office/drawing/2014/main" val="624013758"/>
                    </a:ext>
                  </a:extLst>
                </a:gridCol>
                <a:gridCol w="1360646">
                  <a:extLst>
                    <a:ext uri="{9D8B030D-6E8A-4147-A177-3AD203B41FA5}">
                      <a16:colId xmlns:a16="http://schemas.microsoft.com/office/drawing/2014/main" val="4168092091"/>
                    </a:ext>
                  </a:extLst>
                </a:gridCol>
              </a:tblGrid>
              <a:tr h="571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adcount</a:t>
                      </a:r>
                      <a:b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 change from Spring 2020 - Spring 20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3264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ñada Colleg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817957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llege of San Mate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785214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yline Colleg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9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49336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567583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2046" y="756745"/>
            <a:ext cx="10397924" cy="4671684"/>
          </a:xfrm>
          <a:prstGeom prst="rect">
            <a:avLst/>
          </a:prstGeom>
        </p:spPr>
      </p:pic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1417712"/>
              </p:ext>
            </p:extLst>
          </p:nvPr>
        </p:nvGraphicFramePr>
        <p:xfrm>
          <a:off x="4353034" y="5434626"/>
          <a:ext cx="3022600" cy="1333500"/>
        </p:xfrm>
        <a:graphic>
          <a:graphicData uri="http://schemas.openxmlformats.org/drawingml/2006/table">
            <a:tbl>
              <a:tblPr/>
              <a:tblGrid>
                <a:gridCol w="1661954">
                  <a:extLst>
                    <a:ext uri="{9D8B030D-6E8A-4147-A177-3AD203B41FA5}">
                      <a16:colId xmlns:a16="http://schemas.microsoft.com/office/drawing/2014/main" val="743856497"/>
                    </a:ext>
                  </a:extLst>
                </a:gridCol>
                <a:gridCol w="1360646">
                  <a:extLst>
                    <a:ext uri="{9D8B030D-6E8A-4147-A177-3AD203B41FA5}">
                      <a16:colId xmlns:a16="http://schemas.microsoft.com/office/drawing/2014/main" val="4124330346"/>
                    </a:ext>
                  </a:extLst>
                </a:gridCol>
              </a:tblGrid>
              <a:tr h="762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ull Time Equivalent Students (FTES)</a:t>
                      </a:r>
                      <a:b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 change from Spring 2020 - Spring 20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635007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ñada Colleg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6268558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llege of San Mate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851423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yline Colleg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6354759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939372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0144173"/>
              </p:ext>
            </p:extLst>
          </p:nvPr>
        </p:nvGraphicFramePr>
        <p:xfrm>
          <a:off x="1992429" y="105877"/>
          <a:ext cx="7498079" cy="6679935"/>
        </p:xfrm>
        <a:graphic>
          <a:graphicData uri="http://schemas.openxmlformats.org/drawingml/2006/table">
            <a:tbl>
              <a:tblPr/>
              <a:tblGrid>
                <a:gridCol w="3348815">
                  <a:extLst>
                    <a:ext uri="{9D8B030D-6E8A-4147-A177-3AD203B41FA5}">
                      <a16:colId xmlns:a16="http://schemas.microsoft.com/office/drawing/2014/main" val="1502091047"/>
                    </a:ext>
                  </a:extLst>
                </a:gridCol>
                <a:gridCol w="1862268">
                  <a:extLst>
                    <a:ext uri="{9D8B030D-6E8A-4147-A177-3AD203B41FA5}">
                      <a16:colId xmlns:a16="http://schemas.microsoft.com/office/drawing/2014/main" val="3117227295"/>
                    </a:ext>
                  </a:extLst>
                </a:gridCol>
                <a:gridCol w="522742">
                  <a:extLst>
                    <a:ext uri="{9D8B030D-6E8A-4147-A177-3AD203B41FA5}">
                      <a16:colId xmlns:a16="http://schemas.microsoft.com/office/drawing/2014/main" val="2208104660"/>
                    </a:ext>
                  </a:extLst>
                </a:gridCol>
                <a:gridCol w="1764254">
                  <a:extLst>
                    <a:ext uri="{9D8B030D-6E8A-4147-A177-3AD203B41FA5}">
                      <a16:colId xmlns:a16="http://schemas.microsoft.com/office/drawing/2014/main" val="2312435669"/>
                    </a:ext>
                  </a:extLst>
                </a:gridCol>
              </a:tblGrid>
              <a:tr h="4917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OTAL HEADCOUNT at Cañada College</a:t>
                      </a:r>
                    </a:p>
                  </a:txBody>
                  <a:tcPr marL="5208" marR="5208" marT="5208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4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E-COVID % CHANGE (Fall 16 to Fall 19)</a:t>
                      </a:r>
                    </a:p>
                  </a:txBody>
                  <a:tcPr marL="5208" marR="5208" marT="52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4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208" marR="5208" marT="52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4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VID % CHANGE </a:t>
                      </a:r>
                      <a:b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(Fall 19 to Fall 21)</a:t>
                      </a:r>
                    </a:p>
                  </a:txBody>
                  <a:tcPr marL="5208" marR="5208" marT="52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4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4546210"/>
                  </a:ext>
                </a:extLst>
              </a:tr>
              <a:tr h="23185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nduplicated Headcount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10.3%)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10.0%)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EA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7111143"/>
                  </a:ext>
                </a:extLst>
              </a:tr>
              <a:tr h="23185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208" marR="5208" marT="520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208" marR="5208" marT="520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208" marR="5208" marT="520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208" marR="5208" marT="520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0418280"/>
                  </a:ext>
                </a:extLst>
              </a:tr>
              <a:tr h="36777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Gender</a:t>
                      </a:r>
                    </a:p>
                  </a:txBody>
                  <a:tcPr marL="5208" marR="5208" marT="52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4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E-COVID % CHANGE (Fall 16 to Fall 19)</a:t>
                      </a:r>
                    </a:p>
                  </a:txBody>
                  <a:tcPr marL="5208" marR="5208" marT="52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4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4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VID % CHANGE </a:t>
                      </a:r>
                      <a:b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(Fall 19 to Fall 21)</a:t>
                      </a:r>
                    </a:p>
                  </a:txBody>
                  <a:tcPr marL="5208" marR="5208" marT="52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4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9181864"/>
                  </a:ext>
                </a:extLst>
              </a:tr>
              <a:tr h="23185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emale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12.9%)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7.5%)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0352819"/>
                  </a:ext>
                </a:extLst>
              </a:tr>
              <a:tr h="23185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le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5.8%)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13.9%)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E5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7786873"/>
                  </a:ext>
                </a:extLst>
              </a:tr>
              <a:tr h="23185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t Reported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16.0%)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D6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4.6%)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5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2034281"/>
                  </a:ext>
                </a:extLst>
              </a:tr>
              <a:tr h="23185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208" marR="5208" marT="520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208" marR="5208" marT="520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208" marR="5208" marT="520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208" marR="5208" marT="520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2534515"/>
                  </a:ext>
                </a:extLst>
              </a:tr>
              <a:tr h="36777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Race/Ethnicity</a:t>
                      </a:r>
                    </a:p>
                  </a:txBody>
                  <a:tcPr marL="5208" marR="5208" marT="52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4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E-COVID % CHANGE (Fall 16 to Fall 19)</a:t>
                      </a:r>
                    </a:p>
                  </a:txBody>
                  <a:tcPr marL="5208" marR="5208" marT="52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4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4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VID % CHANGE </a:t>
                      </a:r>
                      <a:b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(Fall 19 to Fall 21)</a:t>
                      </a:r>
                    </a:p>
                  </a:txBody>
                  <a:tcPr marL="5208" marR="5208" marT="52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4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715352"/>
                  </a:ext>
                </a:extLst>
              </a:tr>
              <a:tr h="21586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merican Indian/Alaskan Native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11.1%)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37.5%)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9E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7746693"/>
                  </a:ext>
                </a:extLst>
              </a:tr>
              <a:tr h="23185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sian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1.2%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9.3%)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E9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7927977"/>
                  </a:ext>
                </a:extLst>
              </a:tr>
              <a:tr h="23185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lack - Non-Hispanic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18.4%)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22.6%)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CB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476133"/>
                  </a:ext>
                </a:extLst>
              </a:tr>
              <a:tr h="23185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ilipino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4.8%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42.2%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5216763"/>
                  </a:ext>
                </a:extLst>
              </a:tr>
              <a:tr h="23185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ispanic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18.1%)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13.7%)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E6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4111181"/>
                  </a:ext>
                </a:extLst>
              </a:tr>
              <a:tr h="23185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cific Islander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18.4%)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2.5%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F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1874220"/>
                  </a:ext>
                </a:extLst>
              </a:tr>
              <a:tr h="23185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hite Non-Hispanic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24.9%)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B07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0.1%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5142064"/>
                  </a:ext>
                </a:extLst>
              </a:tr>
              <a:tr h="23185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ultiraces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7.5%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22.6%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CC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1910897"/>
                  </a:ext>
                </a:extLst>
              </a:tr>
              <a:tr h="23185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nknown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147.8%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55.2%)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1462739"/>
                  </a:ext>
                </a:extLst>
              </a:tr>
              <a:tr h="23185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208" marR="5208" marT="520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208" marR="5208" marT="520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208" marR="5208" marT="520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208" marR="5208" marT="520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8868977"/>
                  </a:ext>
                </a:extLst>
              </a:tr>
              <a:tr h="36777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Age </a:t>
                      </a:r>
                      <a:b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(calculated as of corresponding term)</a:t>
                      </a:r>
                    </a:p>
                  </a:txBody>
                  <a:tcPr marL="5208" marR="5208" marT="52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4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E-COVID % CHANGE (Fall 16 to Fall 19)</a:t>
                      </a:r>
                    </a:p>
                  </a:txBody>
                  <a:tcPr marL="5208" marR="5208" marT="52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4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4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VID % CHANGE </a:t>
                      </a:r>
                      <a:b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(Fall 19 to Fall 21)</a:t>
                      </a:r>
                    </a:p>
                  </a:txBody>
                  <a:tcPr marL="5208" marR="5208" marT="520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4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4475648"/>
                  </a:ext>
                </a:extLst>
              </a:tr>
              <a:tr h="23185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e Less Than 20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1.4%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8.5%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A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3527440"/>
                  </a:ext>
                </a:extLst>
              </a:tr>
              <a:tr h="23185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e 20 - 24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11.6%)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13.1%)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E8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095755"/>
                  </a:ext>
                </a:extLst>
              </a:tr>
              <a:tr h="23185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e 25 - 29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15.9%)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20.9%)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D0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843631"/>
                  </a:ext>
                </a:extLst>
              </a:tr>
              <a:tr h="23185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e 30 - 39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9.6%)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19.8%)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D3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9628814"/>
                  </a:ext>
                </a:extLst>
              </a:tr>
              <a:tr h="23185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e 40 - 49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20.6%)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C2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13.0%)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E8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6816439"/>
                  </a:ext>
                </a:extLst>
              </a:tr>
              <a:tr h="23185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ge 50 +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18.8%)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18.0%)</a:t>
                      </a:r>
                    </a:p>
                  </a:txBody>
                  <a:tcPr marL="5208" marR="5208" marT="520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9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84680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310026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2146434" y="96237"/>
          <a:ext cx="7440328" cy="6660697"/>
        </p:xfrm>
        <a:graphic>
          <a:graphicData uri="http://schemas.openxmlformats.org/drawingml/2006/table">
            <a:tbl>
              <a:tblPr/>
              <a:tblGrid>
                <a:gridCol w="3323023">
                  <a:extLst>
                    <a:ext uri="{9D8B030D-6E8A-4147-A177-3AD203B41FA5}">
                      <a16:colId xmlns:a16="http://schemas.microsoft.com/office/drawing/2014/main" val="2163142738"/>
                    </a:ext>
                  </a:extLst>
                </a:gridCol>
                <a:gridCol w="1847924">
                  <a:extLst>
                    <a:ext uri="{9D8B030D-6E8A-4147-A177-3AD203B41FA5}">
                      <a16:colId xmlns:a16="http://schemas.microsoft.com/office/drawing/2014/main" val="1575051971"/>
                    </a:ext>
                  </a:extLst>
                </a:gridCol>
                <a:gridCol w="518716">
                  <a:extLst>
                    <a:ext uri="{9D8B030D-6E8A-4147-A177-3AD203B41FA5}">
                      <a16:colId xmlns:a16="http://schemas.microsoft.com/office/drawing/2014/main" val="1115927902"/>
                    </a:ext>
                  </a:extLst>
                </a:gridCol>
                <a:gridCol w="1750665">
                  <a:extLst>
                    <a:ext uri="{9D8B030D-6E8A-4147-A177-3AD203B41FA5}">
                      <a16:colId xmlns:a16="http://schemas.microsoft.com/office/drawing/2014/main" val="3269503108"/>
                    </a:ext>
                  </a:extLst>
                </a:gridCol>
              </a:tblGrid>
              <a:tr h="38106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First Generation</a:t>
                      </a:r>
                    </a:p>
                  </a:txBody>
                  <a:tcPr marL="5186" marR="5186" marT="51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4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E-COVID % CHANGE (Fall 16 to Fall 19)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4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4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VID % CHANGE </a:t>
                      </a:r>
                      <a:b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(Fall 19 to Fall 21)</a:t>
                      </a:r>
                    </a:p>
                  </a:txBody>
                  <a:tcPr marL="5186" marR="5186" marT="51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4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5195059"/>
                  </a:ext>
                </a:extLst>
              </a:tr>
              <a:tr h="23022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irst Generation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0.6%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7.6%)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776477"/>
                  </a:ext>
                </a:extLst>
              </a:tr>
              <a:tr h="23022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t First Generation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8.5%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4.2%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DE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1251462"/>
                  </a:ext>
                </a:extLst>
              </a:tr>
              <a:tr h="23022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nreported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41.7%)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37.9%)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9D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663766"/>
                  </a:ext>
                </a:extLst>
              </a:tr>
              <a:tr h="230227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6" marR="5186" marT="51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6" marR="5186" marT="51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6" marR="5186" marT="51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6" marR="5186" marT="51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725959"/>
                  </a:ext>
                </a:extLst>
              </a:tr>
              <a:tr h="38106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Low Income</a:t>
                      </a:r>
                    </a:p>
                  </a:txBody>
                  <a:tcPr marL="5186" marR="5186" marT="51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4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E-COVID % CHANGE (Fall 16 to Fall 19)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4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4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VID % CHANGE </a:t>
                      </a:r>
                      <a:b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(Fall 19 to Fall 21)</a:t>
                      </a:r>
                    </a:p>
                  </a:txBody>
                  <a:tcPr marL="5186" marR="5186" marT="51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4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3311378"/>
                  </a:ext>
                </a:extLst>
              </a:tr>
              <a:tr h="23022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w Income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20.0%)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22.5%)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CB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1385297"/>
                  </a:ext>
                </a:extLst>
              </a:tr>
              <a:tr h="23022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t Low Income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0.1%)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0.7%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2806178"/>
                  </a:ext>
                </a:extLst>
              </a:tr>
              <a:tr h="230227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6" marR="5186" marT="51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6" marR="5186" marT="51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6" marR="5186" marT="51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6" marR="5186" marT="51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50965562"/>
                  </a:ext>
                </a:extLst>
              </a:tr>
              <a:tr h="38106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ESL Students</a:t>
                      </a:r>
                    </a:p>
                  </a:txBody>
                  <a:tcPr marL="5186" marR="5186" marT="51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4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E-COVID % CHANGE (Fall 16 to Fall 19)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4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4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VID % CHANGE </a:t>
                      </a:r>
                      <a:b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(Fall 19 to Fall 21)</a:t>
                      </a:r>
                    </a:p>
                  </a:txBody>
                  <a:tcPr marL="5186" marR="5186" marT="51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4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4119378"/>
                  </a:ext>
                </a:extLst>
              </a:tr>
              <a:tr h="23022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L Students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33.1%)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8D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54.3%)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6B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9510423"/>
                  </a:ext>
                </a:extLst>
              </a:tr>
              <a:tr h="23022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186" marR="5186" marT="51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186" marR="5186" marT="51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186" marR="5186" marT="51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186" marR="5186" marT="51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0790836"/>
                  </a:ext>
                </a:extLst>
              </a:tr>
              <a:tr h="38106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Enrollment Status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4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E-COVID % CHANGE (Fall 16 to Fall 19)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4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4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VID % CHANGE </a:t>
                      </a:r>
                      <a:b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(Fall 19 to Fall 21)</a:t>
                      </a:r>
                    </a:p>
                  </a:txBody>
                  <a:tcPr marL="5186" marR="5186" marT="51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4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0109454"/>
                  </a:ext>
                </a:extLst>
              </a:tr>
              <a:tr h="23022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ntinuing Student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11.0%)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9.9%)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EA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8187066"/>
                  </a:ext>
                </a:extLst>
              </a:tr>
              <a:tr h="23022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irst-Time Student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9.9%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12.1%)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7292948"/>
                  </a:ext>
                </a:extLst>
              </a:tr>
              <a:tr h="23022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irst-Time Transfer Student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11.8%)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28.6%)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B97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3559287"/>
                  </a:ext>
                </a:extLst>
              </a:tr>
              <a:tr h="23022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turning Student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6.9%)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17.9%)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9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4532614"/>
                  </a:ext>
                </a:extLst>
              </a:tr>
              <a:tr h="23022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turning Transfer Student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27.5%)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A5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17.2%)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B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2812305"/>
                  </a:ext>
                </a:extLst>
              </a:tr>
              <a:tr h="23022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t Applicable, Currently K-12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22.5%)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BA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26.9%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B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2357717"/>
                  </a:ext>
                </a:extLst>
              </a:tr>
              <a:tr h="230227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6" marR="5186" marT="51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6" marR="5186" marT="51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6" marR="5186" marT="51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6" marR="5186" marT="51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6430331"/>
                  </a:ext>
                </a:extLst>
              </a:tr>
              <a:tr h="38106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Disabled Students</a:t>
                      </a:r>
                    </a:p>
                  </a:txBody>
                  <a:tcPr marL="5186" marR="5186" marT="51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4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E-COVID % CHANGE (Fall 16 to Fall 19)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4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4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VID % CHANGE </a:t>
                      </a:r>
                      <a:b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(Fall 19 to Fall 21)</a:t>
                      </a:r>
                    </a:p>
                  </a:txBody>
                  <a:tcPr marL="5186" marR="5186" marT="51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4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6706644"/>
                  </a:ext>
                </a:extLst>
              </a:tr>
              <a:tr h="23022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sabled Students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12.1%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7.6%)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479816"/>
                  </a:ext>
                </a:extLst>
              </a:tr>
              <a:tr h="230227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6" marR="5186" marT="51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6" marR="5186" marT="51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6" marR="5186" marT="51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86" marR="5186" marT="518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1379143"/>
                  </a:ext>
                </a:extLst>
              </a:tr>
              <a:tr h="38106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Recent High School Graduates</a:t>
                      </a:r>
                    </a:p>
                  </a:txBody>
                  <a:tcPr marL="5186" marR="5186" marT="51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4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E-COVID % CHANGE (Fall 16 to Fall 19)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4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46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VID % CHANGE </a:t>
                      </a:r>
                      <a:b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(Fall 19 to Fall 21)</a:t>
                      </a:r>
                    </a:p>
                  </a:txBody>
                  <a:tcPr marL="5186" marR="5186" marT="518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4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002703"/>
                  </a:ext>
                </a:extLst>
              </a:tr>
              <a:tr h="23022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igh School Grads 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21.9%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0.2%</a:t>
                      </a:r>
                    </a:p>
                  </a:txBody>
                  <a:tcPr marL="5186" marR="5186" marT="518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1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83974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73920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1068405" y="173255"/>
          <a:ext cx="9105499" cy="6670536"/>
        </p:xfrm>
        <a:graphic>
          <a:graphicData uri="http://schemas.openxmlformats.org/drawingml/2006/table">
            <a:tbl>
              <a:tblPr/>
              <a:tblGrid>
                <a:gridCol w="5104597">
                  <a:extLst>
                    <a:ext uri="{9D8B030D-6E8A-4147-A177-3AD203B41FA5}">
                      <a16:colId xmlns:a16="http://schemas.microsoft.com/office/drawing/2014/main" val="3717356293"/>
                    </a:ext>
                  </a:extLst>
                </a:gridCol>
                <a:gridCol w="2000451">
                  <a:extLst>
                    <a:ext uri="{9D8B030D-6E8A-4147-A177-3AD203B41FA5}">
                      <a16:colId xmlns:a16="http://schemas.microsoft.com/office/drawing/2014/main" val="3603500134"/>
                    </a:ext>
                  </a:extLst>
                </a:gridCol>
                <a:gridCol w="2000451">
                  <a:extLst>
                    <a:ext uri="{9D8B030D-6E8A-4147-A177-3AD203B41FA5}">
                      <a16:colId xmlns:a16="http://schemas.microsoft.com/office/drawing/2014/main" val="1246827290"/>
                    </a:ext>
                  </a:extLst>
                </a:gridCol>
              </a:tblGrid>
              <a:tr h="54491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añada Unduplicated Headcount by Modality </a:t>
                      </a:r>
                    </a:p>
                    <a:p>
                      <a:pPr algn="l" fontAlgn="ctr"/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(NOTE: Some students are enrolled in multiple modalities.)</a:t>
                      </a:r>
                    </a:p>
                  </a:txBody>
                  <a:tcPr marL="5672" marR="5672" marT="56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Fall 2021</a:t>
                      </a:r>
                    </a:p>
                  </a:txBody>
                  <a:tcPr marL="5672" marR="5672" marT="56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pring 2022</a:t>
                      </a:r>
                    </a:p>
                  </a:txBody>
                  <a:tcPr marL="5672" marR="5672" marT="56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82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8854060"/>
                  </a:ext>
                </a:extLst>
              </a:tr>
              <a:tr h="32711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ACE TO FACE</a:t>
                      </a:r>
                    </a:p>
                  </a:txBody>
                  <a:tcPr marL="5672" marR="5672" marT="56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1</a:t>
                      </a:r>
                    </a:p>
                  </a:txBody>
                  <a:tcPr marL="5672" marR="5672" marT="56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94</a:t>
                      </a:r>
                    </a:p>
                  </a:txBody>
                  <a:tcPr marL="5672" marR="5672" marT="56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D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9459473"/>
                  </a:ext>
                </a:extLst>
              </a:tr>
              <a:tr h="32711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YBRID</a:t>
                      </a:r>
                    </a:p>
                  </a:txBody>
                  <a:tcPr marL="5672" marR="5672" marT="56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9</a:t>
                      </a:r>
                    </a:p>
                  </a:txBody>
                  <a:tcPr marL="5672" marR="5672" marT="56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2</a:t>
                      </a:r>
                    </a:p>
                  </a:txBody>
                  <a:tcPr marL="5672" marR="5672" marT="56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874116"/>
                  </a:ext>
                </a:extLst>
              </a:tr>
              <a:tr h="32711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NLINE</a:t>
                      </a:r>
                    </a:p>
                  </a:txBody>
                  <a:tcPr marL="5672" marR="5672" marT="56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75</a:t>
                      </a:r>
                    </a:p>
                  </a:txBody>
                  <a:tcPr marL="5672" marR="5672" marT="56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95</a:t>
                      </a:r>
                    </a:p>
                  </a:txBody>
                  <a:tcPr marL="5672" marR="5672" marT="56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0620801"/>
                  </a:ext>
                </a:extLst>
              </a:tr>
              <a:tr h="31216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YNCHRONOUS</a:t>
                      </a:r>
                    </a:p>
                  </a:txBody>
                  <a:tcPr marL="5672" marR="5672" marT="56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26</a:t>
                      </a:r>
                    </a:p>
                  </a:txBody>
                  <a:tcPr marL="5672" marR="5672" marT="56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4</a:t>
                      </a:r>
                    </a:p>
                  </a:txBody>
                  <a:tcPr marL="5672" marR="5672" marT="56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7304025"/>
                  </a:ext>
                </a:extLst>
              </a:tr>
              <a:tr h="67907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</a:t>
                      </a:r>
                    </a:p>
                  </a:txBody>
                  <a:tcPr marL="5672" marR="5672" marT="56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11</a:t>
                      </a:r>
                    </a:p>
                  </a:txBody>
                  <a:tcPr marL="5672" marR="5672" marT="56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70</a:t>
                      </a:r>
                    </a:p>
                  </a:txBody>
                  <a:tcPr marL="5672" marR="5672" marT="56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2461715"/>
                  </a:ext>
                </a:extLst>
              </a:tr>
              <a:tr h="32711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672" marR="5672" marT="567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672" marR="5672" marT="567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333333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672" marR="5672" marT="567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5458734"/>
                  </a:ext>
                </a:extLst>
              </a:tr>
              <a:tr h="50351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añada Unduplicated Headcount </a:t>
                      </a:r>
                    </a:p>
                    <a:p>
                      <a:pPr algn="l" fontAlgn="ctr"/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by Type of Enrollment</a:t>
                      </a:r>
                    </a:p>
                  </a:txBody>
                  <a:tcPr marL="5672" marR="5672" marT="56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Fall 2021</a:t>
                      </a:r>
                    </a:p>
                  </a:txBody>
                  <a:tcPr marL="5672" marR="5672" marT="56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pring 2022</a:t>
                      </a:r>
                    </a:p>
                  </a:txBody>
                  <a:tcPr marL="5672" marR="5672" marT="56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82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2631562"/>
                  </a:ext>
                </a:extLst>
              </a:tr>
              <a:tr h="30947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NROLLED EXCLUSIVELY FACE-TO-FACE</a:t>
                      </a:r>
                    </a:p>
                  </a:txBody>
                  <a:tcPr marL="5672" marR="5672" marT="56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0</a:t>
                      </a:r>
                    </a:p>
                  </a:txBody>
                  <a:tcPr marL="5672" marR="5672" marT="56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8</a:t>
                      </a:r>
                    </a:p>
                  </a:txBody>
                  <a:tcPr marL="5672" marR="5672" marT="56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D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848079"/>
                  </a:ext>
                </a:extLst>
              </a:tr>
              <a:tr h="34650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NROLLED EXCLUSIVELY ONLINE</a:t>
                      </a:r>
                    </a:p>
                  </a:txBody>
                  <a:tcPr marL="5672" marR="5672" marT="56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97</a:t>
                      </a:r>
                    </a:p>
                  </a:txBody>
                  <a:tcPr marL="5672" marR="5672" marT="56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22</a:t>
                      </a:r>
                    </a:p>
                  </a:txBody>
                  <a:tcPr marL="5672" marR="5672" marT="56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D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4780855"/>
                  </a:ext>
                </a:extLst>
              </a:tr>
              <a:tr h="38501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NROLLED EXCLUSIVELY HYBRID</a:t>
                      </a:r>
                    </a:p>
                  </a:txBody>
                  <a:tcPr marL="5672" marR="5672" marT="56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</a:t>
                      </a:r>
                    </a:p>
                  </a:txBody>
                  <a:tcPr marL="5672" marR="5672" marT="56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7</a:t>
                      </a:r>
                    </a:p>
                  </a:txBody>
                  <a:tcPr marL="5672" marR="5672" marT="56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D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6491656"/>
                  </a:ext>
                </a:extLst>
              </a:tr>
              <a:tr h="30800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NROLLED EXCLUSIVELY SYNCHRONOUS</a:t>
                      </a:r>
                    </a:p>
                  </a:txBody>
                  <a:tcPr marL="5672" marR="5672" marT="56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3</a:t>
                      </a:r>
                    </a:p>
                  </a:txBody>
                  <a:tcPr marL="5672" marR="5672" marT="56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4</a:t>
                      </a:r>
                    </a:p>
                  </a:txBody>
                  <a:tcPr marL="5672" marR="5672" marT="56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D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4039310"/>
                  </a:ext>
                </a:extLst>
              </a:tr>
              <a:tr h="57141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NROLLED IN FACE-TO-FACE AND AT LEAST ONE OTHER MODALITY, BUT NOT ENROLLED IN ALL MODALITIES</a:t>
                      </a:r>
                    </a:p>
                  </a:txBody>
                  <a:tcPr marL="5672" marR="5672" marT="56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9</a:t>
                      </a:r>
                    </a:p>
                  </a:txBody>
                  <a:tcPr marL="5672" marR="5672" marT="56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6</a:t>
                      </a:r>
                    </a:p>
                  </a:txBody>
                  <a:tcPr marL="5672" marR="5672" marT="56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D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5381858"/>
                  </a:ext>
                </a:extLst>
              </a:tr>
              <a:tr h="38094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NROLLED IN ALL FOUR MODALITIES (FACE-TO-FACE, ONLINE, HYBRID, AND SYNCHRONOUS)</a:t>
                      </a:r>
                    </a:p>
                  </a:txBody>
                  <a:tcPr marL="5672" marR="5672" marT="56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5672" marR="5672" marT="56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</a:p>
                  </a:txBody>
                  <a:tcPr marL="5672" marR="5672" marT="56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D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0299253"/>
                  </a:ext>
                </a:extLst>
              </a:tr>
              <a:tr h="20703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LL OTHER COMBINATIONS</a:t>
                      </a:r>
                    </a:p>
                  </a:txBody>
                  <a:tcPr marL="5672" marR="5672" marT="56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68</a:t>
                      </a:r>
                    </a:p>
                  </a:txBody>
                  <a:tcPr marL="5672" marR="5672" marT="56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3</a:t>
                      </a:r>
                    </a:p>
                  </a:txBody>
                  <a:tcPr marL="5672" marR="5672" marT="56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D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0323584"/>
                  </a:ext>
                </a:extLst>
              </a:tr>
              <a:tr h="38094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NROLLED IN TWO OR THREE DIFFERENT MODALITIES, BUT NOT ALL FOUR</a:t>
                      </a:r>
                    </a:p>
                  </a:txBody>
                  <a:tcPr marL="5672" marR="5672" marT="56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87</a:t>
                      </a:r>
                    </a:p>
                  </a:txBody>
                  <a:tcPr marL="5672" marR="5672" marT="56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79</a:t>
                      </a:r>
                    </a:p>
                  </a:txBody>
                  <a:tcPr marL="5672" marR="5672" marT="56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57816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751754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Inserted picture RelID: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8419" y="404262"/>
            <a:ext cx="10368843" cy="6160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641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3E91A569_90BB_40FD_97A2_26733EB91BB1&quot;,&quot;SourceFullName&quot;:&quot;https://smccd-my.sharepoint.com/personal/engelk_smccd_edu/Documents/Enrollment Management/National Student Clearinghouse/Fall 2019 to Fall 2021 NSC data trends US CA.xlsx&quot;,&quot;LastUpdate&quot;:&quot;2022-03-01 6:53 PM&quot;,&quot;UpdatedBy&quot;:&quot;engelk&quot;,&quot;IsLinked&quot;:false,&quot;IsBrokenLink&quot;:false,&quot;Type&quot;:1}"/>
</p:tagLst>
</file>

<file path=ppt/theme/theme1.xml><?xml version="1.0" encoding="utf-8"?>
<a:theme xmlns:a="http://schemas.openxmlformats.org/drawingml/2006/main" name="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S- ESSP Presentation Feb 2022" id="{4C381F44-8984-6045-953D-9D01FBABBC9C}" vid="{55720DBA-4DE6-7149-8A6C-4E3BEC428D6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9551A415522C74CB2195B1A777E9A7C" ma:contentTypeVersion="13" ma:contentTypeDescription="Create a new document." ma:contentTypeScope="" ma:versionID="618bc19bae1ae606cfd6804c8e2176d6">
  <xsd:schema xmlns:xsd="http://www.w3.org/2001/XMLSchema" xmlns:xs="http://www.w3.org/2001/XMLSchema" xmlns:p="http://schemas.microsoft.com/office/2006/metadata/properties" xmlns:ns3="2bc55ecc-363e-43e9-bfac-4ba2e86f45ee" xmlns:ns4="bb5bbb0b-6c89-44d7-be61-0adfe653f983" targetNamespace="http://schemas.microsoft.com/office/2006/metadata/properties" ma:root="true" ma:fieldsID="e0599e1f8396ab867dd6a01ab5d3ef8a" ns3:_="" ns4:_="">
    <xsd:import namespace="2bc55ecc-363e-43e9-bfac-4ba2e86f45ee"/>
    <xsd:import namespace="bb5bbb0b-6c89-44d7-be61-0adfe653f98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3:MediaServiceDateTaken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c55ecc-363e-43e9-bfac-4ba2e86f45e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5bbb0b-6c89-44d7-be61-0adfe653f983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CCABDCF-A584-4C08-9B4E-C0AFE118F49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bc55ecc-363e-43e9-bfac-4ba2e86f45ee"/>
    <ds:schemaRef ds:uri="bb5bbb0b-6c89-44d7-be61-0adfe653f98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D1DB056-5B44-4FE9-8FC4-4CC039D46D2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339ED27-27A3-4188-9FE0-E497EFC7FD01}">
  <ds:schemaRefs>
    <ds:schemaRef ds:uri="http://schemas.microsoft.com/office/infopath/2007/PartnerControls"/>
    <ds:schemaRef ds:uri="2bc55ecc-363e-43e9-bfac-4ba2e86f45ee"/>
    <ds:schemaRef ds:uri="bb5bbb0b-6c89-44d7-be61-0adfe653f983"/>
    <ds:schemaRef ds:uri="http://schemas.microsoft.com/office/2006/documentManagement/types"/>
    <ds:schemaRef ds:uri="http://purl.org/dc/elements/1.1/"/>
    <ds:schemaRef ds:uri="http://purl.org/dc/dcmitype/"/>
    <ds:schemaRef ds:uri="http://purl.org/dc/terms/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62</TotalTime>
  <Words>1781</Words>
  <Application>Microsoft Office PowerPoint</Application>
  <PresentationFormat>Widescreen</PresentationFormat>
  <Paragraphs>432</Paragraphs>
  <Slides>26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5" baseType="lpstr">
      <vt:lpstr>Arial</vt:lpstr>
      <vt:lpstr>Calibri</vt:lpstr>
      <vt:lpstr>Times</vt:lpstr>
      <vt:lpstr>Times New Roman</vt:lpstr>
      <vt:lpstr>Trebuchet MS</vt:lpstr>
      <vt:lpstr>Wingdings</vt:lpstr>
      <vt:lpstr>Wingdings 3</vt:lpstr>
      <vt:lpstr>Wingdings,Sans-Serif</vt:lpstr>
      <vt:lpstr>Facet</vt:lpstr>
      <vt:lpstr>Spring 2022 Enrollment at Cañada College</vt:lpstr>
      <vt:lpstr>Outline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Notable issues with Spring enrollment process</vt:lpstr>
      <vt:lpstr>Strategy to mitigate financial aid-related fraud </vt:lpstr>
      <vt:lpstr>Strategy to mitigate admission application fraud</vt:lpstr>
      <vt:lpstr>Strategy to mitigate admission application fraud</vt:lpstr>
      <vt:lpstr>Self-Identified as a Homeless student </vt:lpstr>
      <vt:lpstr>Importance of Census</vt:lpstr>
      <vt:lpstr>Notable issues with Spring enrollment process</vt:lpstr>
      <vt:lpstr>Vaccination Attestation and Enrollment  </vt:lpstr>
      <vt:lpstr>Vaccination Attestation and Enrollment</vt:lpstr>
      <vt:lpstr>Attestation for Summer &amp; Fall 2022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pring 2022 Enrollment at Cañada College</dc:title>
  <dc:creator>Bennani, Wissem</dc:creator>
  <cp:lastModifiedBy>Engel, Karen</cp:lastModifiedBy>
  <cp:revision>4</cp:revision>
  <dcterms:created xsi:type="dcterms:W3CDTF">2022-03-02T19:19:48Z</dcterms:created>
  <dcterms:modified xsi:type="dcterms:W3CDTF">2022-03-02T20:46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9551A415522C74CB2195B1A777E9A7C</vt:lpwstr>
  </property>
</Properties>
</file>